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51"/>
  </p:notesMasterIdLst>
  <p:handoutMasterIdLst>
    <p:handoutMasterId r:id="rId52"/>
  </p:handoutMasterIdLst>
  <p:sldIdLst>
    <p:sldId id="273" r:id="rId6"/>
    <p:sldId id="365" r:id="rId7"/>
    <p:sldId id="363" r:id="rId8"/>
    <p:sldId id="276" r:id="rId9"/>
    <p:sldId id="285" r:id="rId10"/>
    <p:sldId id="286" r:id="rId11"/>
    <p:sldId id="287" r:id="rId12"/>
    <p:sldId id="332" r:id="rId13"/>
    <p:sldId id="288" r:id="rId14"/>
    <p:sldId id="289" r:id="rId15"/>
    <p:sldId id="290" r:id="rId16"/>
    <p:sldId id="291" r:id="rId17"/>
    <p:sldId id="292" r:id="rId18"/>
    <p:sldId id="293" r:id="rId19"/>
    <p:sldId id="294" r:id="rId20"/>
    <p:sldId id="356" r:id="rId21"/>
    <p:sldId id="297" r:id="rId22"/>
    <p:sldId id="349" r:id="rId23"/>
    <p:sldId id="330" r:id="rId24"/>
    <p:sldId id="321" r:id="rId25"/>
    <p:sldId id="359" r:id="rId26"/>
    <p:sldId id="334" r:id="rId27"/>
    <p:sldId id="303" r:id="rId28"/>
    <p:sldId id="305" r:id="rId29"/>
    <p:sldId id="308" r:id="rId30"/>
    <p:sldId id="318" r:id="rId31"/>
    <p:sldId id="360" r:id="rId32"/>
    <p:sldId id="337" r:id="rId33"/>
    <p:sldId id="351" r:id="rId34"/>
    <p:sldId id="361" r:id="rId35"/>
    <p:sldId id="342" r:id="rId36"/>
    <p:sldId id="352" r:id="rId37"/>
    <p:sldId id="341" r:id="rId38"/>
    <p:sldId id="317" r:id="rId39"/>
    <p:sldId id="350" r:id="rId40"/>
    <p:sldId id="357" r:id="rId41"/>
    <p:sldId id="354" r:id="rId42"/>
    <p:sldId id="319" r:id="rId43"/>
    <p:sldId id="364" r:id="rId44"/>
    <p:sldId id="325" r:id="rId45"/>
    <p:sldId id="327" r:id="rId46"/>
    <p:sldId id="353" r:id="rId47"/>
    <p:sldId id="362" r:id="rId48"/>
    <p:sldId id="301" r:id="rId49"/>
    <p:sldId id="302" r:id="rId50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2B63"/>
    <a:srgbClr val="FDD81C"/>
    <a:srgbClr val="76C6D6"/>
    <a:srgbClr val="1B77BB"/>
    <a:srgbClr val="FDD8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31" autoAdjust="0"/>
    <p:restoredTop sz="83573" autoAdjust="0"/>
  </p:normalViewPr>
  <p:slideViewPr>
    <p:cSldViewPr snapToGrid="0" snapToObjects="1">
      <p:cViewPr varScale="1">
        <p:scale>
          <a:sx n="73" d="100"/>
          <a:sy n="73" d="100"/>
        </p:scale>
        <p:origin x="1574" y="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-2616" y="-77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B109995-198F-444B-9CAF-8E7FFA4E82C7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6D8DA66-D4E7-490C-986F-43026D6787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1345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5846702-BF00-47A7-9AA7-47F1C91222DD}" type="datetimeFigureOut">
              <a:rPr lang="en-US" smtClean="0"/>
              <a:t>6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784F4C0-DFB7-459A-BCE6-99039D235CA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708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e to slide</a:t>
            </a:r>
            <a:r>
              <a:rPr lang="en-US" baseline="0" dirty="0" smtClean="0"/>
              <a:t> before where we talk about communication with state legislature outreach</a:t>
            </a:r>
            <a:endParaRPr lang="en-US" dirty="0" smtClean="0"/>
          </a:p>
          <a:p>
            <a:endParaRPr lang="en-US" dirty="0" smtClean="0"/>
          </a:p>
          <a:p>
            <a:r>
              <a:rPr lang="en-US" b="1" u="sng" dirty="0" smtClean="0"/>
              <a:t>Congressman Kevin</a:t>
            </a:r>
            <a:r>
              <a:rPr lang="en-US" b="1" u="sng" baseline="0" dirty="0" smtClean="0"/>
              <a:t> McCarty </a:t>
            </a:r>
            <a:r>
              <a:rPr lang="en-US" baseline="0" dirty="0" smtClean="0"/>
              <a:t>– Chris existing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58A0FF-8573-49E5-8EBA-0A71221153A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358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ik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1158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ik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448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219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905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4115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7876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58A0FF-8573-49E5-8EBA-0A71221153A6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530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e to slide</a:t>
            </a:r>
            <a:r>
              <a:rPr lang="en-US" baseline="0" dirty="0" smtClean="0"/>
              <a:t> before where we talk about communication with state legislature outreach</a:t>
            </a:r>
            <a:endParaRPr lang="en-US" dirty="0" smtClean="0"/>
          </a:p>
          <a:p>
            <a:endParaRPr lang="en-US" dirty="0" smtClean="0"/>
          </a:p>
          <a:p>
            <a:r>
              <a:rPr lang="en-US" b="1" u="sng" dirty="0" smtClean="0"/>
              <a:t>Congressman Kevin</a:t>
            </a:r>
            <a:r>
              <a:rPr lang="en-US" b="1" u="sng" baseline="0" dirty="0" smtClean="0"/>
              <a:t> McCarty </a:t>
            </a:r>
            <a:r>
              <a:rPr lang="en-US" baseline="0" dirty="0" smtClean="0"/>
              <a:t>– Chris existing relation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58A0FF-8573-49E5-8EBA-0A71221153A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90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appened between</a:t>
            </a:r>
            <a:r>
              <a:rPr lang="en-US" baseline="0" dirty="0" smtClean="0"/>
              <a:t> June 23 and June 2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58A0FF-8573-49E5-8EBA-0A71221153A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986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742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800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240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6253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ral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6546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Use of hydraulic models are important for both water demand and impac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rgbClr val="102B63"/>
                </a:solidFill>
              </a:rPr>
              <a:t>Availability &amp; Resilienc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rgbClr val="102B63"/>
                </a:solidFill>
              </a:rPr>
              <a:t>Water Quali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GIS and Mapping provide a means to visually indicate situational awarenes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SCADA operational awareness of asset status, levels, and water suppl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Engineering can provide other role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rgbClr val="102B63"/>
                </a:solidFill>
              </a:rPr>
              <a:t>Supply chain for recovery, parts, and asset component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rgbClr val="102B63"/>
                </a:solidFill>
              </a:rPr>
              <a:t>Support WQ evaluations and treatment process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900" dirty="0" smtClean="0">
                <a:solidFill>
                  <a:srgbClr val="102B63"/>
                </a:solidFill>
              </a:rPr>
              <a:t>Field activities</a:t>
            </a:r>
            <a:r>
              <a:rPr lang="en-US" sz="1900" baseline="0" dirty="0" smtClean="0">
                <a:solidFill>
                  <a:srgbClr val="102B63"/>
                </a:solidFill>
              </a:rPr>
              <a:t> and evaluation </a:t>
            </a:r>
            <a:endParaRPr lang="en-US" sz="1900" dirty="0" smtClean="0">
              <a:solidFill>
                <a:srgbClr val="102B6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461A5-652C-4F72-B9E8-E279A4DCCA4B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415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file://localhost/Users/sashawelland/Desktop/THINK%20Marketing/Cal%20Water/CWS%20Logos%202014/Word%20and%20PPT/CWS_Logo-RGBcolor.png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file://localhost/Users/sashawelland/Desktop/THINK%20Marketing/Cal%20Water/CWS%20Logos%202014/Word%20and%20PPT/CWS_Logo-RGBcolor.png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file://localhost/Users/sashawelland/Desktop/THINK%20Marketing/Cal%20Water/CWS%20Logos%202014/Word%20and%20PPT/CWS_Logo-RGBcolor.png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file://localhost/Users/sashawelland/Desktop/THINK%20Marketing/Cal%20Water/CWS%20Logos%202014/Word%20and%20PPT/CWS_Logo-RGBcolor.png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file://localhost/Users/sashawelland/Desktop/THINK%20Marketing/Cal%20Water/CWS%20Logos%202014/Word%20and%20PPT/CWS_Logo-RGBcolor.png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952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1191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6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3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491288"/>
            <a:ext cx="5246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dirty="0" smtClean="0">
                <a:solidFill>
                  <a:prstClr val="black">
                    <a:tint val="75000"/>
                  </a:prstClr>
                </a:solidFill>
              </a:rPr>
              <a:t> I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810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491288"/>
            <a:ext cx="5246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dirty="0" smtClean="0">
                <a:solidFill>
                  <a:prstClr val="black">
                    <a:tint val="75000"/>
                  </a:prstClr>
                </a:solidFill>
              </a:rPr>
              <a:t> I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8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Click to edit Master text styles</a:t>
            </a:r>
          </a:p>
          <a:p>
            <a:pPr lvl="1"/>
            <a:r>
              <a:rPr lang="da-DK" smtClean="0"/>
              <a:t>Second level</a:t>
            </a:r>
          </a:p>
          <a:p>
            <a:pPr lvl="2"/>
            <a:r>
              <a:rPr lang="da-DK" smtClean="0"/>
              <a:t>Third level</a:t>
            </a:r>
          </a:p>
          <a:p>
            <a:pPr lvl="3"/>
            <a:r>
              <a:rPr lang="da-DK" smtClean="0"/>
              <a:t>Fourth level</a:t>
            </a:r>
          </a:p>
          <a:p>
            <a:pPr lvl="4"/>
            <a:r>
              <a:rPr lang="da-DK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610600" y="6491288"/>
            <a:ext cx="5246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dirty="0" smtClean="0">
                <a:solidFill>
                  <a:prstClr val="black">
                    <a:tint val="75000"/>
                  </a:prstClr>
                </a:solidFill>
              </a:rPr>
              <a:t> I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3377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2"/>
          <p:cNvSpPr>
            <a:spLocks noGrp="1"/>
          </p:cNvSpPr>
          <p:nvPr>
            <p:ph idx="1"/>
          </p:nvPr>
        </p:nvSpPr>
        <p:spPr>
          <a:xfrm>
            <a:off x="457200" y="1676400"/>
            <a:ext cx="8229600" cy="38274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Calibri"/>
              </a:defRPr>
            </a:lvl1pPr>
            <a:lvl2pPr>
              <a:defRPr>
                <a:solidFill>
                  <a:srgbClr val="000000"/>
                </a:solidFill>
                <a:latin typeface="Calibri"/>
              </a:defRPr>
            </a:lvl2pPr>
            <a:lvl3pPr>
              <a:defRPr>
                <a:solidFill>
                  <a:srgbClr val="000000"/>
                </a:solidFill>
                <a:latin typeface="Calibri"/>
              </a:defRPr>
            </a:lvl3pPr>
            <a:lvl4pPr>
              <a:defRPr>
                <a:solidFill>
                  <a:srgbClr val="000000"/>
                </a:solidFill>
                <a:latin typeface="Calibri"/>
              </a:defRPr>
            </a:lvl4pPr>
            <a:lvl5pPr>
              <a:defRPr>
                <a:solidFill>
                  <a:srgbClr val="000000"/>
                </a:solidFill>
                <a:latin typeface="Calibri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491288"/>
            <a:ext cx="5246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dirty="0" smtClean="0">
                <a:solidFill>
                  <a:prstClr val="black">
                    <a:tint val="75000"/>
                  </a:prstClr>
                </a:solidFill>
              </a:rPr>
              <a:t> I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280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lues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2484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22313" y="6385193"/>
            <a:ext cx="2953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Quality. Service. Value.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223560"/>
            <a:ext cx="7619497" cy="432082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ln>
                  <a:noFill/>
                </a:ln>
                <a:solidFill>
                  <a:schemeClr val="accent6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22313" y="2655642"/>
            <a:ext cx="7619497" cy="432082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ln>
                  <a:noFill/>
                </a:ln>
                <a:solidFill>
                  <a:srgbClr val="1F1C19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37C7ED7-C202-3A4A-8D07-71E02FC754D0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8125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/bulle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722313" y="6385193"/>
            <a:ext cx="2953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Quality. Service. Value.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9" name="Picture 8" descr="squaresign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581525" cy="6218296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7C7ED7-C202-3A4A-8D07-71E02FC754D0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634228"/>
            <a:ext cx="2979738" cy="2322427"/>
          </a:xfrm>
          <a:prstGeom prst="rect">
            <a:avLst/>
          </a:prstGeom>
        </p:spPr>
        <p:txBody>
          <a:bodyPr vert="horz"/>
          <a:lstStyle>
            <a:lvl1pPr>
              <a:defRPr sz="3600" b="1" i="0">
                <a:latin typeface="Raleway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946649" y="1253755"/>
            <a:ext cx="3902251" cy="447394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ln>
                  <a:noFill/>
                </a:ln>
                <a:solidFill>
                  <a:srgbClr val="1F1C19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8039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b="92346"/>
          <a:stretch/>
        </p:blipFill>
        <p:spPr>
          <a:xfrm>
            <a:off x="-8546" y="6346820"/>
            <a:ext cx="9152546" cy="37038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b="14492"/>
          <a:stretch/>
        </p:blipFill>
        <p:spPr>
          <a:xfrm>
            <a:off x="-8546" y="6547872"/>
            <a:ext cx="9152546" cy="32721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9322" y="6403416"/>
            <a:ext cx="430139" cy="151814"/>
          </a:xfrm>
          <a:prstGeom prst="rect">
            <a:avLst/>
          </a:prstGeom>
        </p:spPr>
      </p:pic>
      <p:pic>
        <p:nvPicPr>
          <p:cNvPr id="10" name="CWS_Logo-RGBcolor.png" descr="/Users/sashawelland/Desktop/THINK Marketing/Cal Water/CWS Logos 2014/Word and PPT/CWS_Logo-RGBcolor.png"/>
          <p:cNvPicPr>
            <a:picLocks noChangeAspect="1"/>
          </p:cNvPicPr>
          <p:nvPr userDrawn="1"/>
        </p:nvPicPr>
        <p:blipFill>
          <a:blip r:embed="rId5" r:link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71" y="5637954"/>
            <a:ext cx="692346" cy="69426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37232" y="6575849"/>
            <a:ext cx="20489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cs typeface="Calibri"/>
              </a:rPr>
              <a:t>Quality. Service. Value.</a:t>
            </a:r>
            <a:endParaRPr lang="en-US" sz="110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810911" y="6567852"/>
            <a:ext cx="3289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4419CB69-7AFC-452E-B7B3-C8BA853FB952}" type="slidenum">
              <a:rPr lang="en-US" sz="1100" smtClean="0">
                <a:solidFill>
                  <a:schemeClr val="bg1"/>
                </a:solidFill>
                <a:cs typeface="Calibri"/>
              </a:rPr>
              <a:pPr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621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3445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b="92346"/>
          <a:stretch/>
        </p:blipFill>
        <p:spPr>
          <a:xfrm>
            <a:off x="-8546" y="6346820"/>
            <a:ext cx="9152546" cy="3703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b="14492"/>
          <a:stretch/>
        </p:blipFill>
        <p:spPr>
          <a:xfrm>
            <a:off x="-8546" y="6547872"/>
            <a:ext cx="9152546" cy="3272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9322" y="6403416"/>
            <a:ext cx="430139" cy="151814"/>
          </a:xfrm>
          <a:prstGeom prst="rect">
            <a:avLst/>
          </a:prstGeom>
        </p:spPr>
      </p:pic>
      <p:pic>
        <p:nvPicPr>
          <p:cNvPr id="11" name="CWS_Logo-RGBcolor.png" descr="/Users/sashawelland/Desktop/THINK Marketing/Cal Water/CWS Logos 2014/Word and PPT/CWS_Logo-RGBcolor.png"/>
          <p:cNvPicPr>
            <a:picLocks noChangeAspect="1"/>
          </p:cNvPicPr>
          <p:nvPr userDrawn="1"/>
        </p:nvPicPr>
        <p:blipFill>
          <a:blip r:embed="rId5" r:link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71" y="5637954"/>
            <a:ext cx="692346" cy="694268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37232" y="6575849"/>
            <a:ext cx="20489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cs typeface="Calibri"/>
              </a:rPr>
              <a:t>Quality. Service. Value.</a:t>
            </a:r>
            <a:endParaRPr lang="en-US" sz="11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20908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b="92346"/>
          <a:stretch/>
        </p:blipFill>
        <p:spPr>
          <a:xfrm>
            <a:off x="-8546" y="6346820"/>
            <a:ext cx="9152546" cy="3703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/>
          <a:srcRect b="14492"/>
          <a:stretch/>
        </p:blipFill>
        <p:spPr>
          <a:xfrm>
            <a:off x="-8546" y="6547872"/>
            <a:ext cx="9152546" cy="3272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9322" y="6403416"/>
            <a:ext cx="430139" cy="151814"/>
          </a:xfrm>
          <a:prstGeom prst="rect">
            <a:avLst/>
          </a:prstGeom>
        </p:spPr>
      </p:pic>
      <p:pic>
        <p:nvPicPr>
          <p:cNvPr id="13" name="CWS_Logo-RGBcolor.png" descr="/Users/sashawelland/Desktop/THINK Marketing/Cal Water/CWS Logos 2014/Word and PPT/CWS_Logo-RGBcolor.png"/>
          <p:cNvPicPr>
            <a:picLocks noChangeAspect="1"/>
          </p:cNvPicPr>
          <p:nvPr userDrawn="1"/>
        </p:nvPicPr>
        <p:blipFill>
          <a:blip r:embed="rId5" r:link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71" y="5637954"/>
            <a:ext cx="692346" cy="69426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437232" y="6575849"/>
            <a:ext cx="20489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cs typeface="Calibri"/>
              </a:rPr>
              <a:t>Quality. Service. Value.</a:t>
            </a:r>
            <a:endParaRPr lang="en-US" sz="11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0707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b="92346"/>
          <a:stretch/>
        </p:blipFill>
        <p:spPr>
          <a:xfrm>
            <a:off x="-8546" y="6346820"/>
            <a:ext cx="9152546" cy="3703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/>
          <a:srcRect b="14492"/>
          <a:stretch/>
        </p:blipFill>
        <p:spPr>
          <a:xfrm>
            <a:off x="-8546" y="6547872"/>
            <a:ext cx="9152546" cy="3272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9322" y="6403416"/>
            <a:ext cx="430139" cy="151814"/>
          </a:xfrm>
          <a:prstGeom prst="rect">
            <a:avLst/>
          </a:prstGeom>
        </p:spPr>
      </p:pic>
      <p:pic>
        <p:nvPicPr>
          <p:cNvPr id="9" name="CWS_Logo-RGBcolor.png" descr="/Users/sashawelland/Desktop/THINK Marketing/Cal Water/CWS Logos 2014/Word and PPT/CWS_Logo-RGBcolor.png"/>
          <p:cNvPicPr>
            <a:picLocks noChangeAspect="1"/>
          </p:cNvPicPr>
          <p:nvPr userDrawn="1"/>
        </p:nvPicPr>
        <p:blipFill>
          <a:blip r:embed="rId5" r:link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71" y="5637954"/>
            <a:ext cx="692346" cy="694268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437232" y="6575849"/>
            <a:ext cx="20489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cs typeface="Calibri"/>
              </a:rPr>
              <a:t>Quality. Service. Value.</a:t>
            </a:r>
            <a:endParaRPr lang="en-US" sz="11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1109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b="92346"/>
          <a:stretch/>
        </p:blipFill>
        <p:spPr>
          <a:xfrm>
            <a:off x="-8546" y="6346820"/>
            <a:ext cx="9152546" cy="3703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b="14492"/>
          <a:stretch/>
        </p:blipFill>
        <p:spPr>
          <a:xfrm>
            <a:off x="-8546" y="6547872"/>
            <a:ext cx="9152546" cy="3272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9322" y="6403416"/>
            <a:ext cx="430139" cy="151814"/>
          </a:xfrm>
          <a:prstGeom prst="rect">
            <a:avLst/>
          </a:prstGeom>
        </p:spPr>
      </p:pic>
      <p:pic>
        <p:nvPicPr>
          <p:cNvPr id="8" name="CWS_Logo-RGBcolor.png" descr="/Users/sashawelland/Desktop/THINK Marketing/Cal Water/CWS Logos 2014/Word and PPT/CWS_Logo-RGBcolor.png"/>
          <p:cNvPicPr>
            <a:picLocks noChangeAspect="1"/>
          </p:cNvPicPr>
          <p:nvPr userDrawn="1"/>
        </p:nvPicPr>
        <p:blipFill>
          <a:blip r:embed="rId5" r:link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71" y="5637954"/>
            <a:ext cx="692346" cy="694268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437232" y="6575849"/>
            <a:ext cx="20489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bg1"/>
                </a:solidFill>
                <a:cs typeface="Calibri"/>
              </a:rPr>
              <a:t>Quality. Service. Value.</a:t>
            </a:r>
            <a:endParaRPr lang="en-US" sz="1100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61167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1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949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6C990-C996-CB42-8221-01ACF2D9A29C}" type="datetimeFigureOut">
              <a:rPr lang="en-US" smtClean="0"/>
              <a:pPr/>
              <a:t>6/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412517-593A-C942-B84D-954AFAC0079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498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9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10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11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29646" y="6542312"/>
            <a:ext cx="468086" cy="365125"/>
          </a:xfrm>
          <a:prstGeom prst="rect">
            <a:avLst/>
          </a:prstGeom>
        </p:spPr>
        <p:txBody>
          <a:bodyPr/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5671E300-8326-411E-BDE8-074A1FFF106D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1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file://localhost/Users/sashawelland/Desktop/THINK%20Marketing/Cal%20Water/CWS%20Logos%202014/Word%20and%20PPT/CWS_Logo-RGBcolor.pn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gif"/><Relationship Id="rId5" Type="http://schemas.openxmlformats.org/officeDocument/2006/relationships/image" Target="../media/image12.gif"/><Relationship Id="rId4" Type="http://schemas.openxmlformats.org/officeDocument/2006/relationships/image" Target="../media/image11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file://localhost/Users/sashawelland/Desktop/THINK%20Marketing/Cal%20Water/CWS%20Logos%202014/Word%20and%20PPT/CWS_Logo-RGBcolor.png" TargetMode="External"/><Relationship Id="rId4" Type="http://schemas.openxmlformats.org/officeDocument/2006/relationships/image" Target="../media/image7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874449"/>
            <a:ext cx="9144001" cy="31256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en-US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0" y="4476749"/>
            <a:ext cx="9144000" cy="24401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1" dirty="0" smtClean="0">
                <a:solidFill>
                  <a:srgbClr val="102B63"/>
                </a:solidFill>
                <a:cs typeface="Calibri"/>
              </a:rPr>
              <a:t>CUEA Members Meeting the Challenge</a:t>
            </a:r>
          </a:p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1" dirty="0" smtClean="0">
                <a:solidFill>
                  <a:srgbClr val="102B63"/>
                </a:solidFill>
                <a:cs typeface="Calibri"/>
              </a:rPr>
              <a:t>2018- An Unprecedented Year for Wildland Fires</a:t>
            </a:r>
          </a:p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800" b="1" dirty="0" smtClean="0">
                <a:solidFill>
                  <a:srgbClr val="102B63"/>
                </a:solidFill>
                <a:latin typeface="Calibri"/>
                <a:cs typeface="Calibri"/>
              </a:rPr>
              <a:t>Water Utilities Lesson Learned</a:t>
            </a:r>
          </a:p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endParaRPr lang="en-US" sz="1400" b="1" dirty="0" smtClean="0">
              <a:solidFill>
                <a:srgbClr val="102B63"/>
              </a:solidFill>
              <a:latin typeface="Calibri"/>
              <a:cs typeface="Calibri"/>
            </a:endParaRPr>
          </a:p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endParaRPr lang="en-US" sz="900" b="1" dirty="0" smtClean="0">
              <a:solidFill>
                <a:srgbClr val="102B63"/>
              </a:solidFill>
              <a:latin typeface="Calibri"/>
              <a:cs typeface="Calibri"/>
            </a:endParaRPr>
          </a:p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1400" b="1" dirty="0">
                <a:solidFill>
                  <a:srgbClr val="102B63"/>
                </a:solidFill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102B63"/>
                </a:solidFill>
                <a:latin typeface="Calibri"/>
                <a:cs typeface="Calibri"/>
              </a:rPr>
              <a:t>Gerald Simon, VP Safety, Security and Emergency Preparedness Offic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190825"/>
            <a:ext cx="9144000" cy="4179588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" t="9904" r="7305" b="289"/>
          <a:stretch/>
        </p:blipFill>
        <p:spPr>
          <a:xfrm>
            <a:off x="0" y="0"/>
            <a:ext cx="9144001" cy="4370413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065867" y="1594210"/>
            <a:ext cx="60451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FDD848"/>
                </a:solidFill>
              </a:rPr>
              <a:t>California Water Service</a:t>
            </a:r>
          </a:p>
          <a:p>
            <a:r>
              <a:rPr lang="en-US" dirty="0" smtClean="0">
                <a:solidFill>
                  <a:schemeClr val="bg1"/>
                </a:solidFill>
                <a:cs typeface="Calibri"/>
              </a:rPr>
              <a:t>June 13, 2019</a:t>
            </a:r>
            <a:endParaRPr lang="en-US" dirty="0">
              <a:solidFill>
                <a:schemeClr val="bg1"/>
              </a:solidFill>
              <a:cs typeface="Calibri"/>
            </a:endParaRPr>
          </a:p>
        </p:txBody>
      </p:sp>
      <p:pic>
        <p:nvPicPr>
          <p:cNvPr id="16" name="CWS_Logo-RGBcolor.png" descr="/Users/sashawelland/Desktop/THINK Marketing/Cal Water/CWS Logos 2014/Word and PPT/CWS_Logo-RGBcolor.png"/>
          <p:cNvPicPr>
            <a:picLocks noChangeAspect="1"/>
          </p:cNvPicPr>
          <p:nvPr/>
        </p:nvPicPr>
        <p:blipFill>
          <a:blip r:embed="rId3" r:link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18" y="1134533"/>
            <a:ext cx="1532162" cy="153641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082800" y="2741161"/>
            <a:ext cx="6045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76C6D6"/>
                </a:solidFill>
                <a:cs typeface="Calibri"/>
              </a:rPr>
              <a:t>Q</a:t>
            </a:r>
            <a:r>
              <a:rPr lang="en-US" sz="1400" b="1" dirty="0" smtClean="0">
                <a:solidFill>
                  <a:srgbClr val="76C6D6"/>
                </a:solidFill>
                <a:cs typeface="Calibri"/>
              </a:rPr>
              <a:t>uality. Service. Value.</a:t>
            </a:r>
            <a:endParaRPr lang="en-US" sz="1400" b="1" dirty="0">
              <a:solidFill>
                <a:srgbClr val="76C6D6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6060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83675" y="86977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626527" y="157391"/>
            <a:ext cx="6406346" cy="8382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srgbClr val="102B63"/>
                </a:solidFill>
              </a:rPr>
              <a:t>Emergency Response Trailer Unit</a:t>
            </a:r>
            <a:endParaRPr lang="en-US" sz="3600" b="1" dirty="0">
              <a:solidFill>
                <a:srgbClr val="102B63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609" y="2546169"/>
            <a:ext cx="4853038" cy="3284701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extBox 10"/>
          <p:cNvSpPr txBox="1"/>
          <p:nvPr/>
        </p:nvSpPr>
        <p:spPr>
          <a:xfrm>
            <a:off x="683675" y="1200139"/>
            <a:ext cx="78740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Fully equipped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n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sustain 6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workers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with all tools, equipment, tents,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port-a-potties,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and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ooking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equipment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for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7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days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69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626527" y="86977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534952" y="173348"/>
            <a:ext cx="5927781" cy="8382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srgbClr val="102B63"/>
                </a:solidFill>
              </a:rPr>
              <a:t>Emergency Action Guidebook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92660" y="1102324"/>
            <a:ext cx="484098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Step-by-step checklists for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a number of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emergencies, including: </a:t>
            </a:r>
          </a:p>
          <a:p>
            <a:pPr marL="800100" lvl="2" indent="-342900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Earthquakes</a:t>
            </a:r>
          </a:p>
          <a:p>
            <a:pPr marL="800100" lvl="2" indent="-342900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Active shooter</a:t>
            </a:r>
          </a:p>
          <a:p>
            <a:pPr marL="800100" lvl="2" indent="-342900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Water quality emergencies</a:t>
            </a:r>
          </a:p>
          <a:p>
            <a:pPr marL="800100" lvl="2" indent="-342900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Floods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&amp;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storms </a:t>
            </a:r>
          </a:p>
          <a:p>
            <a:pPr marL="342900" lvl="1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Given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to EVERY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l Water staff member (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desks) and placed in every service vehicle (trucks) to utilize when these emergencies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occur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3008" y="1102324"/>
            <a:ext cx="2760807" cy="4557428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0222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b="2873"/>
          <a:stretch/>
        </p:blipFill>
        <p:spPr>
          <a:xfrm>
            <a:off x="1162823" y="3481826"/>
            <a:ext cx="3119421" cy="2814199"/>
          </a:xfrm>
          <a:prstGeom prst="rect">
            <a:avLst/>
          </a:prstGeom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587675" y="119644"/>
            <a:ext cx="5291832" cy="838200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Earthquake Checklist  </a:t>
            </a:r>
            <a:r>
              <a:rPr lang="en-US" sz="3600" dirty="0" smtClean="0">
                <a:solidFill>
                  <a:srgbClr val="102B63"/>
                </a:solidFill>
              </a:rPr>
              <a:t>(example)</a:t>
            </a:r>
            <a:endParaRPr lang="en-US" sz="3600" dirty="0">
              <a:solidFill>
                <a:srgbClr val="102B63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6973" y="704276"/>
            <a:ext cx="3562350" cy="33813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1273" y="3742088"/>
            <a:ext cx="3448050" cy="249555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626527" y="630484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1549" y="808441"/>
            <a:ext cx="3056395" cy="303973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590875" y="699358"/>
            <a:ext cx="1333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</a:rPr>
              <a:t>Office Actions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489581" y="699359"/>
            <a:ext cx="1333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</a:rPr>
              <a:t>Field Actions</a:t>
            </a:r>
            <a:endParaRPr lang="en-U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91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592660" y="190501"/>
            <a:ext cx="8322739" cy="838200"/>
          </a:xfrm>
        </p:spPr>
        <p:txBody>
          <a:bodyPr>
            <a:normAutofit/>
          </a:bodyPr>
          <a:lstStyle/>
          <a:p>
            <a:pPr algn="l"/>
            <a:r>
              <a:rPr lang="en-US" altLang="en-US" sz="3600" b="1" dirty="0" smtClean="0">
                <a:solidFill>
                  <a:srgbClr val="102B63"/>
                </a:solidFill>
              </a:rPr>
              <a:t>Erskine Fire (Kern River Valley) </a:t>
            </a:r>
            <a:endParaRPr lang="en-US" sz="3600" b="1" dirty="0">
              <a:solidFill>
                <a:srgbClr val="102B63"/>
              </a:solidFill>
            </a:endParaRPr>
          </a:p>
        </p:txBody>
      </p:sp>
      <p:pic>
        <p:nvPicPr>
          <p:cNvPr id="14" name="Picture 13" descr="burning home"/>
          <p:cNvPicPr>
            <a:picLocks noGrp="1" noChangeAspect="1"/>
          </p:cNvPicPr>
          <p:nvPr isPhoto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398" y="1302571"/>
            <a:ext cx="3976145" cy="2211906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 descr="Hill on fire"/>
          <p:cNvPicPr>
            <a:picLocks noGrp="1" noChangeAspect="1"/>
          </p:cNvPicPr>
          <p:nvPr isPhoto="1"/>
        </p:nvPicPr>
        <p:blipFill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899" y="1302571"/>
            <a:ext cx="3122731" cy="4687595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 descr="home burning"/>
          <p:cNvPicPr>
            <a:picLocks noGrp="1" noChangeAspect="1"/>
          </p:cNvPicPr>
          <p:nvPr isPhoto="1"/>
        </p:nvPicPr>
        <p:blipFill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398" y="3765221"/>
            <a:ext cx="3982965" cy="2224945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8" name="Straight Connector 7"/>
          <p:cNvCxnSpPr/>
          <p:nvPr/>
        </p:nvCxnSpPr>
        <p:spPr>
          <a:xfrm>
            <a:off x="626527" y="1003304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58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46612" y="996579"/>
            <a:ext cx="856705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en-US" sz="2200" dirty="0" smtClean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0070C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200" dirty="0" smtClean="0">
              <a:solidFill>
                <a:srgbClr val="0070C0"/>
              </a:solidFill>
            </a:endParaRPr>
          </a:p>
          <a:p>
            <a:pPr lvl="1"/>
            <a:endParaRPr lang="en-US" sz="1600" dirty="0">
              <a:solidFill>
                <a:srgbClr val="0070C0"/>
              </a:solidFill>
            </a:endParaRPr>
          </a:p>
          <a:p>
            <a:pPr lvl="1"/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2874" y="1132866"/>
            <a:ext cx="7114361" cy="477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108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people responded</a:t>
            </a:r>
          </a:p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14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districts sent personnel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and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equipment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to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assist </a:t>
            </a:r>
          </a:p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Extensive coordination with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l Fire,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Kern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ounty, US Forest Service, and BLM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17 days of EOC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activation, 13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of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those </a:t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handled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in Bakersfield</a:t>
            </a:r>
          </a:p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Emergency Response Trailer Unit utilized </a:t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to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assist in this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effort</a:t>
            </a:r>
          </a:p>
          <a:p>
            <a:pPr marL="342900" lvl="1" indent="-3429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Focused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on our two emergency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response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missions</a:t>
            </a:r>
          </a:p>
          <a:p>
            <a:pPr marL="800100" lvl="3" indent="-342900">
              <a:lnSpc>
                <a:spcPct val="90000"/>
              </a:lnSpc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Provide water for firefighting</a:t>
            </a:r>
          </a:p>
          <a:p>
            <a:pPr marL="800100" lvl="3" indent="-342900">
              <a:lnSpc>
                <a:spcPct val="90000"/>
              </a:lnSpc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Provide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clean, 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fresh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water 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for our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customers 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to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drink</a:t>
            </a:r>
          </a:p>
          <a:p>
            <a:pPr marL="342900" lvl="2" indent="-342900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Received NAWC Living Water Award for Erskine Fire response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412875" y="150058"/>
            <a:ext cx="8211960" cy="8382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solidFill>
                  <a:srgbClr val="102B63"/>
                </a:solidFill>
              </a:rPr>
              <a:t>Erskine Fire: Coordination</a:t>
            </a:r>
            <a:endParaRPr lang="en-US" sz="3200" b="1" dirty="0">
              <a:solidFill>
                <a:srgbClr val="102B63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12875" y="851970"/>
            <a:ext cx="8303835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398" y="1217484"/>
            <a:ext cx="3366312" cy="2524734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3584" y="3963123"/>
            <a:ext cx="3933126" cy="1380640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5857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28" y="1222360"/>
            <a:ext cx="1973798" cy="1833038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259" y="148544"/>
            <a:ext cx="8060273" cy="842962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Erskine Fire: The Aftermath &amp; Recovery</a:t>
            </a:r>
            <a:endParaRPr lang="en-US" sz="3600" b="1" dirty="0">
              <a:solidFill>
                <a:srgbClr val="102B63"/>
              </a:solidFill>
            </a:endParaRPr>
          </a:p>
        </p:txBody>
      </p:sp>
      <p:pic>
        <p:nvPicPr>
          <p:cNvPr id="4" name="Content Placeholder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27" y="3155934"/>
            <a:ext cx="3741079" cy="2492391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7" name="Straight Connector 6"/>
          <p:cNvCxnSpPr/>
          <p:nvPr/>
        </p:nvCxnSpPr>
        <p:spPr>
          <a:xfrm>
            <a:off x="626527" y="1012825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Content Placeholder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98"/>
          <a:stretch/>
        </p:blipFill>
        <p:spPr>
          <a:xfrm>
            <a:off x="2733675" y="1222359"/>
            <a:ext cx="5699124" cy="1833039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15" r="8025"/>
          <a:stretch/>
        </p:blipFill>
        <p:spPr>
          <a:xfrm>
            <a:off x="4505325" y="3155933"/>
            <a:ext cx="3927474" cy="2486191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55026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Make sure you can obtain fuel for generators &amp; vehicle during  wildfire oper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Local area impacted, so water for Community Points of Distribution (CPODs) may need to come from outside of the are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Keep ample CPOD inventory on ERT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Because small districts don’t have enough resources in an emergency, they need help from other districts to support EO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Consider multiple resources needed to keep system running (generators, fuel, EMTs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3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986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654626" y="4152"/>
            <a:ext cx="8089754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Oroville Spillway Incident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54626" y="798392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52"/>
          <a:stretch/>
        </p:blipFill>
        <p:spPr>
          <a:xfrm>
            <a:off x="721302" y="1042378"/>
            <a:ext cx="3345810" cy="4529748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950" y="2088051"/>
            <a:ext cx="4288948" cy="2410547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82947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24254" y="956652"/>
            <a:ext cx="7836644" cy="472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used evacuation of Marysville, Oroville, and Yuba Cit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Marysville &amp; Oroville citizens evacuated to Chico Fairground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Cal Water EOC established in Chico in support of Oroville &amp; Marysville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l Water had to run pumps manually during evacu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Our operations set up to protect our workers </a:t>
            </a:r>
          </a:p>
          <a:p>
            <a:pPr marL="628650" lvl="1" indent="-28575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Included checking with National Weather Service and continuing to know when we could go back to check water system and fill fuel tank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al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Water embedded in Butte County EOC to support firefighter operations and assure availability of water for firefight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PODs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set up to deliver bottled water to our thousands of displaced reside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Cal Water provided movie night and See’s candy for Valentine’s Da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Extensive coordination with NOAA to save threatened steelhead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fish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654626" y="4152"/>
            <a:ext cx="8089754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Oroville Spillway Incident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54626" y="798392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52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3825" y="293680"/>
            <a:ext cx="4481346" cy="5799389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46289" y="1784105"/>
            <a:ext cx="3090127" cy="1266093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As a gesture of partnership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nd contribution to the community, Cal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Water returned to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Chico, Oroville,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and Marysville to provide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emergency response and EOC training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for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ll three cities.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2400" dirty="0">
                <a:solidFill>
                  <a:schemeClr val="tx2">
                    <a:lumMod val="75000"/>
                  </a:schemeClr>
                </a:solidFill>
              </a:rPr>
            </a:b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4744" y="315330"/>
            <a:ext cx="3213219" cy="3818520"/>
          </a:xfrm>
          <a:prstGeom prst="rect">
            <a:avLst/>
          </a:prstGeom>
          <a:noFill/>
          <a:ln w="158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74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6" descr="2008 California Water Service Group Map - FINAL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3400" y="1371600"/>
            <a:ext cx="5008563" cy="480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15"/>
          <p:cNvSpPr>
            <a:spLocks noChangeArrowheads="1"/>
          </p:cNvSpPr>
          <p:nvPr/>
        </p:nvSpPr>
        <p:spPr bwMode="auto">
          <a:xfrm>
            <a:off x="5197475" y="1219200"/>
            <a:ext cx="3565525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defTabSz="914400">
              <a:spcBef>
                <a:spcPct val="20000"/>
              </a:spcBef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Largest in the West</a:t>
            </a:r>
          </a:p>
          <a:p>
            <a:pPr marL="342900" indent="-342900" defTabSz="914400">
              <a:spcBef>
                <a:spcPct val="20000"/>
              </a:spcBef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3rd largest in </a:t>
            </a:r>
            <a:r>
              <a:rPr lang="en-US" sz="2000" dirty="0" smtClean="0">
                <a:solidFill>
                  <a:prstClr val="black"/>
                </a:solidFill>
              </a:rPr>
              <a:t>U.S</a:t>
            </a:r>
            <a:r>
              <a:rPr lang="en-US" sz="2000" dirty="0">
                <a:solidFill>
                  <a:prstClr val="black"/>
                </a:solidFill>
              </a:rPr>
              <a:t>.</a:t>
            </a:r>
          </a:p>
          <a:p>
            <a:pPr marL="342900" indent="-342900" defTabSz="914400">
              <a:spcBef>
                <a:spcPct val="20000"/>
              </a:spcBef>
              <a:buClr>
                <a:srgbClr val="0070C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erves 2 </a:t>
            </a:r>
            <a:r>
              <a:rPr lang="en-US" sz="2000" dirty="0" smtClean="0">
                <a:solidFill>
                  <a:prstClr val="black"/>
                </a:solidFill>
              </a:rPr>
              <a:t>million+ people via…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6,000+ miles of main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1,130 well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662 storage tank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155,000+ valve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50,000+ hydrant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2,010+ sampling station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6 surface water treatment plants</a:t>
            </a:r>
          </a:p>
          <a:p>
            <a:pPr marL="800100" lvl="1" indent="-342900" defTabSz="914400">
              <a:spcBef>
                <a:spcPts val="300"/>
              </a:spcBef>
              <a:buClr>
                <a:srgbClr val="0070C0"/>
              </a:buClr>
              <a:buSzPct val="60000"/>
              <a:buFont typeface="Courier New" panose="02070309020205020404" pitchFamily="49" charset="0"/>
              <a:buChar char="o"/>
            </a:pPr>
            <a:r>
              <a:rPr lang="en-US" dirty="0" smtClean="0">
                <a:solidFill>
                  <a:prstClr val="black"/>
                </a:solidFill>
              </a:rPr>
              <a:t>10 wastewater treatment plants</a:t>
            </a:r>
          </a:p>
          <a:p>
            <a:pPr marL="342900" indent="-342900" defTabSz="914400">
              <a:spcBef>
                <a:spcPct val="20000"/>
              </a:spcBef>
              <a:buFontTx/>
              <a:buChar char="•"/>
            </a:pPr>
            <a:endParaRPr lang="en-US" b="1" dirty="0" smtClean="0">
              <a:solidFill>
                <a:prstClr val="black"/>
              </a:solidFill>
            </a:endParaRPr>
          </a:p>
          <a:p>
            <a:pPr marL="342900" indent="-342900" defTabSz="914400">
              <a:spcBef>
                <a:spcPct val="20000"/>
              </a:spcBef>
              <a:buFontTx/>
              <a:buChar char="•"/>
            </a:pP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876300" y="305807"/>
            <a:ext cx="7315200" cy="6397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prstClr val="black"/>
                </a:solidFill>
                <a:latin typeface="Calibri"/>
              </a:rPr>
              <a:t>California Water Service Group</a:t>
            </a:r>
            <a:endParaRPr lang="en-US" sz="36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61749" y="6553200"/>
            <a:ext cx="468086" cy="308238"/>
          </a:xfrm>
          <a:prstGeom prst="rect">
            <a:avLst/>
          </a:prstGeom>
        </p:spPr>
        <p:txBody>
          <a:bodyPr/>
          <a:lstStyle/>
          <a:p>
            <a:r>
              <a:rPr dirty="0">
                <a:solidFill>
                  <a:prstClr val="black"/>
                </a:solidFill>
              </a:rPr>
              <a:t>6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7860" y="1380026"/>
            <a:ext cx="673491" cy="67349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1870" y="4155076"/>
            <a:ext cx="649532" cy="64953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5436273"/>
            <a:ext cx="617055" cy="61705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3381" y="2679909"/>
            <a:ext cx="687273" cy="716716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724854" y="970553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59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862" y="1995054"/>
            <a:ext cx="3977795" cy="298334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720730" y="295563"/>
            <a:ext cx="7806272" cy="988523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Oroville Community EOC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20730" y="100653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Content Placeholder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6" t="14216" r="17062" b="4698"/>
          <a:stretch/>
        </p:blipFill>
        <p:spPr>
          <a:xfrm>
            <a:off x="720730" y="1413164"/>
            <a:ext cx="3777379" cy="296905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5311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Obtaining water for CPODs essentia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Corporate Communications partnership is essential in relaying evacuation and CPOD messag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Partnership with weather service very important- critical in making strategic &amp; operational decis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Opening EOC is essential, even when local government may no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Putting system on generators only (with EMTs) also important; Systems may have to power on and be left without crews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Make sure you consider fuel needs</a:t>
            </a:r>
            <a:endParaRPr lang="en-US" sz="23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6540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95514" y="649480"/>
            <a:ext cx="3845607" cy="376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54626" y="150058"/>
            <a:ext cx="8415482" cy="8382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Mendocino Complex Fire (Lucerne)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54627" y="988258"/>
            <a:ext cx="76673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Largest recorded fire in California’s history at 459,123 ac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Spanned Lake, Glenn, Colusa, and Mendocino coun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157 residences and 123 other structures destroy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Directly impacted our Redwood Valley District’s Lucerne system (Clear Lak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Must keep </a:t>
            </a:r>
            <a:r>
              <a:rPr lang="en-US" sz="2000" dirty="0">
                <a:solidFill>
                  <a:srgbClr val="102B63"/>
                </a:solidFill>
              </a:rPr>
              <a:t>plant operating to provide critically needed water supply for firefigh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EOC established in Marysville to support Lucerne</a:t>
            </a:r>
            <a:endParaRPr lang="en-US" sz="2000" dirty="0">
              <a:solidFill>
                <a:srgbClr val="102B63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54626" y="820929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398" y="3732668"/>
            <a:ext cx="2724727" cy="204354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98" y="3732668"/>
            <a:ext cx="2724727" cy="204354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535989" y="3988111"/>
            <a:ext cx="2043545" cy="153265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46380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00821" y="1594249"/>
            <a:ext cx="4676773" cy="3507580"/>
          </a:xfrm>
          <a:ln w="12700">
            <a:solidFill>
              <a:schemeClr val="tx1"/>
            </a:solidFill>
          </a:ln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3195" y="88682"/>
            <a:ext cx="7948013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Mendocino Complex Fire 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83197" y="82564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Content Placeholder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841" y="1009651"/>
            <a:ext cx="4059627" cy="259139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8" name="Content Placeholder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841" y="3766585"/>
            <a:ext cx="4059628" cy="243577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30684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02" y="-51933"/>
            <a:ext cx="7806273" cy="1143000"/>
          </a:xfrm>
        </p:spPr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chemeClr val="tx2">
                    <a:lumMod val="75000"/>
                  </a:schemeClr>
                </a:solidFill>
              </a:rPr>
              <a:t>Mendocino Complex Fire: Marysville EOC</a:t>
            </a:r>
            <a:endParaRPr lang="en-US" sz="3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04" y="1195046"/>
            <a:ext cx="3802096" cy="2851572"/>
          </a:xfrm>
          <a:ln w="12700">
            <a:solidFill>
              <a:schemeClr val="tx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566703" y="964189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Content Placeholder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67" b="10124"/>
          <a:stretch/>
        </p:blipFill>
        <p:spPr>
          <a:xfrm>
            <a:off x="4544531" y="1195046"/>
            <a:ext cx="3828444" cy="285681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8" name="Content Placeholder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562" y="4161077"/>
            <a:ext cx="2703533" cy="202765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9" name="Content Placeholder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564" b="25006"/>
          <a:stretch/>
        </p:blipFill>
        <p:spPr>
          <a:xfrm>
            <a:off x="4544531" y="4155837"/>
            <a:ext cx="3232488" cy="203289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64638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303" y="110837"/>
            <a:ext cx="7127188" cy="1143000"/>
          </a:xfrm>
        </p:spPr>
        <p:txBody>
          <a:bodyPr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sz="3200" b="1" dirty="0">
                <a:solidFill>
                  <a:schemeClr val="tx2">
                    <a:lumMod val="75000"/>
                  </a:schemeClr>
                </a:solidFill>
              </a:rPr>
              <a:t>Mendocino Complex Fire: </a:t>
            </a:r>
            <a:r>
              <a:rPr lang="en-US" sz="3200" b="1" dirty="0" smtClean="0">
                <a:solidFill>
                  <a:schemeClr val="tx2">
                    <a:lumMod val="75000"/>
                  </a:schemeClr>
                </a:solidFill>
              </a:rPr>
              <a:t>Planning, Situation Status, Accountability</a:t>
            </a:r>
            <a:endParaRPr lang="en-US" sz="3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7"/>
          <a:stretch/>
        </p:blipFill>
        <p:spPr>
          <a:xfrm rot="5400000">
            <a:off x="-89660" y="2113884"/>
            <a:ext cx="3545611" cy="2435115"/>
          </a:xfrm>
          <a:ln w="12700">
            <a:solidFill>
              <a:schemeClr val="tx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668303" y="114300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Content Placeholder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02" r="28664"/>
          <a:stretch/>
        </p:blipFill>
        <p:spPr>
          <a:xfrm>
            <a:off x="6549691" y="1558636"/>
            <a:ext cx="2230793" cy="361866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7" name="Content Placeholder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0"/>
          <a:stretch/>
        </p:blipFill>
        <p:spPr>
          <a:xfrm>
            <a:off x="3057236" y="2175164"/>
            <a:ext cx="3335922" cy="263475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4997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02" y="-60098"/>
            <a:ext cx="8120097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Mendocino Complex Fire: Recovery CPODs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10" y="1136306"/>
            <a:ext cx="3831163" cy="2873372"/>
          </a:xfrm>
          <a:ln w="12700"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41357" y="2365392"/>
            <a:ext cx="3822625" cy="286696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cxnSp>
        <p:nvCxnSpPr>
          <p:cNvPr id="6" name="Straight Connector 5"/>
          <p:cNvCxnSpPr/>
          <p:nvPr/>
        </p:nvCxnSpPr>
        <p:spPr>
          <a:xfrm>
            <a:off x="657710" y="86366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629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205949"/>
            <a:ext cx="8092555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Have and utilize remote SCADA capabilit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Consider alternatives when there may be personal crises during a company emergenc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Know who essential responders are in first responder are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Embed personnel with county EOC or SOC if requir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Keep EOCs free of contaminan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Pre-event: establish fuel contact(s) and make sure you can calculate fuel needs and obtain fuel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Get engineering support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231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592661" y="176647"/>
            <a:ext cx="8322738" cy="838200"/>
          </a:xfrm>
        </p:spPr>
        <p:txBody>
          <a:bodyPr>
            <a:noAutofit/>
          </a:bodyPr>
          <a:lstStyle/>
          <a:p>
            <a:pPr algn="l"/>
            <a:r>
              <a:rPr lang="en-US" sz="3200" b="1" dirty="0" smtClean="0">
                <a:solidFill>
                  <a:srgbClr val="102B63"/>
                </a:solidFill>
              </a:rPr>
              <a:t>Woolsey Fire (Westlake District)</a:t>
            </a:r>
            <a:endParaRPr lang="en-US" sz="32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7" y="1181209"/>
            <a:ext cx="7840137" cy="1269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102B63"/>
                </a:solidFill>
              </a:rPr>
              <a:t>November 8-21, </a:t>
            </a:r>
            <a:r>
              <a:rPr lang="en-US" sz="2200" dirty="0">
                <a:solidFill>
                  <a:srgbClr val="102B63"/>
                </a:solidFill>
              </a:rPr>
              <a:t>201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102B63"/>
                </a:solidFill>
              </a:rPr>
              <a:t>1,500 structures destroyed, 341 damaged, 96,949 acres burned</a:t>
            </a:r>
            <a:endParaRPr lang="en-US" sz="2200" dirty="0">
              <a:solidFill>
                <a:srgbClr val="102B6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102B63"/>
                </a:solidFill>
              </a:rPr>
              <a:t>3 </a:t>
            </a:r>
            <a:r>
              <a:rPr lang="en-US" sz="2200" dirty="0">
                <a:solidFill>
                  <a:srgbClr val="102B63"/>
                </a:solidFill>
              </a:rPr>
              <a:t>firefighter </a:t>
            </a:r>
            <a:r>
              <a:rPr lang="en-US" sz="2200" dirty="0" smtClean="0">
                <a:solidFill>
                  <a:srgbClr val="102B63"/>
                </a:solidFill>
              </a:rPr>
              <a:t>injuries, 3 civilian fatalities</a:t>
            </a:r>
            <a:endParaRPr lang="en-US" sz="22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77905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Content Placeholder 4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56971" y="2494167"/>
            <a:ext cx="6345383" cy="3569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650312" y="6063445"/>
            <a:ext cx="11636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abc7news.com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053387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592661" y="176647"/>
            <a:ext cx="8322738" cy="838200"/>
          </a:xfrm>
        </p:spPr>
        <p:txBody>
          <a:bodyPr>
            <a:noAutofit/>
          </a:bodyPr>
          <a:lstStyle/>
          <a:p>
            <a:pPr algn="l"/>
            <a:r>
              <a:rPr lang="en-US" sz="3200" b="1" dirty="0" smtClean="0">
                <a:solidFill>
                  <a:srgbClr val="102B63"/>
                </a:solidFill>
              </a:rPr>
              <a:t>Woolsey Fire (Westlake District)</a:t>
            </a:r>
            <a:endParaRPr lang="en-US" sz="32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7" y="1181209"/>
            <a:ext cx="8009473" cy="5022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102B63"/>
                </a:solidFill>
              </a:rPr>
              <a:t>Early activation of EOC needed</a:t>
            </a:r>
          </a:p>
          <a:p>
            <a:pPr marL="285750" lvl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102B63"/>
                </a:solidFill>
              </a:rPr>
              <a:t>Texting not </a:t>
            </a:r>
            <a:r>
              <a:rPr lang="en-US" sz="2200" dirty="0">
                <a:solidFill>
                  <a:srgbClr val="102B63"/>
                </a:solidFill>
              </a:rPr>
              <a:t>an effective form of communication at 3:30 </a:t>
            </a:r>
            <a:r>
              <a:rPr lang="en-US" sz="2200" dirty="0" smtClean="0">
                <a:solidFill>
                  <a:srgbClr val="102B63"/>
                </a:solidFill>
              </a:rPr>
              <a:t>a.m., </a:t>
            </a:r>
            <a:r>
              <a:rPr lang="en-US" sz="2200" dirty="0">
                <a:solidFill>
                  <a:srgbClr val="102B63"/>
                </a:solidFill>
              </a:rPr>
              <a:t>integrated communication </a:t>
            </a:r>
            <a:r>
              <a:rPr lang="en-US" sz="2200" dirty="0" smtClean="0">
                <a:solidFill>
                  <a:srgbClr val="102B63"/>
                </a:solidFill>
              </a:rPr>
              <a:t>contemplated </a:t>
            </a:r>
            <a:r>
              <a:rPr lang="en-US" sz="2200" dirty="0">
                <a:solidFill>
                  <a:srgbClr val="102B63"/>
                </a:solidFill>
              </a:rPr>
              <a:t>with </a:t>
            </a:r>
            <a:r>
              <a:rPr lang="en-US" sz="2200" dirty="0" smtClean="0">
                <a:solidFill>
                  <a:srgbClr val="102B63"/>
                </a:solidFill>
              </a:rPr>
              <a:t>24-hour Call </a:t>
            </a:r>
            <a:r>
              <a:rPr lang="en-US" sz="2200" dirty="0">
                <a:solidFill>
                  <a:srgbClr val="102B63"/>
                </a:solidFill>
              </a:rPr>
              <a:t>Center</a:t>
            </a:r>
          </a:p>
          <a:p>
            <a:pPr marL="285750" lvl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02B63"/>
                </a:solidFill>
              </a:rPr>
              <a:t>Wind events and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impending </a:t>
            </a:r>
            <a:r>
              <a:rPr lang="en-US" sz="2200" dirty="0">
                <a:solidFill>
                  <a:srgbClr val="102B63"/>
                </a:solidFill>
              </a:rPr>
              <a:t>PSPS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should </a:t>
            </a:r>
            <a:r>
              <a:rPr lang="en-US" sz="2200" dirty="0">
                <a:solidFill>
                  <a:srgbClr val="102B63"/>
                </a:solidFill>
              </a:rPr>
              <a:t>prompt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district personnel </a:t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to </a:t>
            </a:r>
            <a:r>
              <a:rPr lang="en-US" sz="2200" dirty="0">
                <a:solidFill>
                  <a:srgbClr val="102B63"/>
                </a:solidFill>
              </a:rPr>
              <a:t>top </a:t>
            </a:r>
            <a:r>
              <a:rPr lang="en-US" sz="2200" dirty="0" smtClean="0">
                <a:solidFill>
                  <a:srgbClr val="102B63"/>
                </a:solidFill>
              </a:rPr>
              <a:t>off </a:t>
            </a:r>
            <a:r>
              <a:rPr lang="en-US" sz="2200" dirty="0">
                <a:solidFill>
                  <a:srgbClr val="102B63"/>
                </a:solidFill>
              </a:rPr>
              <a:t>tanks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and </a:t>
            </a:r>
            <a:r>
              <a:rPr lang="en-US" sz="2200" dirty="0">
                <a:solidFill>
                  <a:srgbClr val="102B63"/>
                </a:solidFill>
              </a:rPr>
              <a:t>vehicles</a:t>
            </a:r>
          </a:p>
          <a:p>
            <a:pPr marL="285750" lvl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102B63"/>
                </a:solidFill>
              </a:rPr>
              <a:t>Ongoing</a:t>
            </a:r>
            <a:r>
              <a:rPr lang="en-US" sz="2200" dirty="0">
                <a:solidFill>
                  <a:srgbClr val="102B63"/>
                </a:solidFill>
              </a:rPr>
              <a:t>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relationships </a:t>
            </a:r>
            <a:r>
              <a:rPr lang="en-US" sz="2200" dirty="0">
                <a:solidFill>
                  <a:srgbClr val="102B63"/>
                </a:solidFill>
              </a:rPr>
              <a:t>with </a:t>
            </a:r>
            <a:r>
              <a:rPr lang="en-US" sz="2200" dirty="0" smtClean="0">
                <a:solidFill>
                  <a:srgbClr val="102B63"/>
                </a:solidFill>
              </a:rPr>
              <a:t/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local fire</a:t>
            </a:r>
            <a:r>
              <a:rPr lang="en-US" sz="2200" dirty="0">
                <a:solidFill>
                  <a:srgbClr val="102B63"/>
                </a:solidFill>
              </a:rPr>
              <a:t>, </a:t>
            </a:r>
            <a:r>
              <a:rPr lang="en-US" sz="2200" dirty="0" smtClean="0">
                <a:solidFill>
                  <a:srgbClr val="102B63"/>
                </a:solidFill>
              </a:rPr>
              <a:t>police, </a:t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and politicians </a:t>
            </a:r>
            <a:br>
              <a:rPr lang="en-US" sz="2200" dirty="0" smtClean="0">
                <a:solidFill>
                  <a:srgbClr val="102B63"/>
                </a:solidFill>
              </a:rPr>
            </a:br>
            <a:r>
              <a:rPr lang="en-US" sz="2200" dirty="0" smtClean="0">
                <a:solidFill>
                  <a:srgbClr val="102B63"/>
                </a:solidFill>
              </a:rPr>
              <a:t>essential</a:t>
            </a:r>
            <a:endParaRPr lang="en-US" sz="22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77905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617" y="2489689"/>
            <a:ext cx="5255491" cy="3502806"/>
          </a:xfrm>
          <a:ln w="12700">
            <a:solidFill>
              <a:schemeClr val="tx1"/>
            </a:solidFill>
          </a:ln>
        </p:spPr>
      </p:pic>
      <p:sp>
        <p:nvSpPr>
          <p:cNvPr id="9" name="TextBox 8"/>
          <p:cNvSpPr txBox="1"/>
          <p:nvPr/>
        </p:nvSpPr>
        <p:spPr>
          <a:xfrm>
            <a:off x="7621817" y="5988505"/>
            <a:ext cx="11662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latimes.com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56487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93912" y="108155"/>
            <a:ext cx="7806272" cy="10157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California </a:t>
            </a:r>
          </a:p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Regional Map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93912" y="127368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7048" y="0"/>
            <a:ext cx="5370996" cy="6248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93912" y="1556738"/>
            <a:ext cx="390313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2">
                    <a:lumMod val="75000"/>
                  </a:schemeClr>
                </a:solidFill>
              </a:rPr>
              <a:t>Corporate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Headquarters –</a:t>
            </a:r>
          </a:p>
          <a:p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   Customer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Support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Services</a:t>
            </a:r>
          </a:p>
          <a:p>
            <a:endParaRPr lang="en-US" sz="280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22 Districts in California</a:t>
            </a:r>
          </a:p>
          <a:p>
            <a:endParaRPr lang="en-US" sz="28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1277" y="2762861"/>
            <a:ext cx="1455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San Jose, CA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686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Must be able to </a:t>
            </a:r>
            <a:r>
              <a:rPr lang="en-US" sz="2300" dirty="0">
                <a:solidFill>
                  <a:srgbClr val="102B63"/>
                </a:solidFill>
              </a:rPr>
              <a:t>coordinate with public agenc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Use hydraulic models for water demand, impact, and water quality analysi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Utilize GIS and mapping abilities to visually indicate situational awareness to diverse set of stakeholders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Have SCADA operational </a:t>
            </a:r>
            <a:r>
              <a:rPr lang="en-US" sz="2300" dirty="0">
                <a:solidFill>
                  <a:srgbClr val="102B63"/>
                </a:solidFill>
              </a:rPr>
              <a:t>a</a:t>
            </a:r>
            <a:r>
              <a:rPr lang="en-US" sz="2300" dirty="0" smtClean="0">
                <a:solidFill>
                  <a:srgbClr val="102B63"/>
                </a:solidFill>
              </a:rPr>
              <a:t>wareness of asset status, levels, and water supply; ensure alerts are set and functional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Identify hydrants and relay volume for fire supply to supporting agenci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Know that Engineering can support other roles and vice versa </a:t>
            </a:r>
            <a:br>
              <a:rPr lang="en-US" sz="2300" dirty="0" smtClean="0">
                <a:solidFill>
                  <a:srgbClr val="102B63"/>
                </a:solidFill>
              </a:rPr>
            </a:br>
            <a:r>
              <a:rPr lang="en-US" sz="2300" dirty="0" smtClean="0">
                <a:solidFill>
                  <a:srgbClr val="102B63"/>
                </a:solidFill>
              </a:rPr>
              <a:t>(ex. mapping and relief incident commander)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900" dirty="0" smtClean="0">
              <a:solidFill>
                <a:srgbClr val="102B6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3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28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312328"/>
            <a:ext cx="8385176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Camp Fire (Paradise/Chico)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-195568" y="731992"/>
            <a:ext cx="8422752" cy="4446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84585" y="1177088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626527" y="1562665"/>
            <a:ext cx="7864330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6075" marR="0" lvl="1" indent="-34607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ember 8-25, </a:t>
            </a:r>
            <a:r>
              <a:rPr lang="en-US" sz="2300" dirty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8</a:t>
            </a:r>
          </a:p>
          <a:p>
            <a:pPr marL="346075" marR="0" lvl="1" indent="-34607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s destroyed</a:t>
            </a:r>
            <a:r>
              <a:rPr lang="en-US" sz="2300" dirty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en-US" sz="2300" dirty="0" smtClean="0">
              <a:solidFill>
                <a:srgbClr val="102B6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8188" lvl="2" indent="-346075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,972 residences</a:t>
            </a:r>
          </a:p>
          <a:p>
            <a:pPr marL="738188" lvl="2" indent="-346075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28 commercial</a:t>
            </a:r>
          </a:p>
          <a:p>
            <a:pPr marL="738188" lvl="2" indent="-346075">
              <a:buSzPct val="80000"/>
              <a:buFont typeface="Courier New" panose="02070309020205020404" pitchFamily="49" charset="0"/>
              <a:buChar char="o"/>
            </a:pPr>
            <a:r>
              <a:rPr lang="en-US" sz="20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,293 other</a:t>
            </a:r>
            <a:endParaRPr lang="en-US" sz="2000" dirty="0">
              <a:solidFill>
                <a:srgbClr val="102B6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6075" marR="0" lvl="1" indent="-34607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8 civilian fatalities, 3 firefighter injuries</a:t>
            </a:r>
            <a:endParaRPr lang="en-US" sz="2300" dirty="0">
              <a:solidFill>
                <a:srgbClr val="102B6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6075" marR="0" lvl="1" indent="-34607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3,336 acres burned</a:t>
            </a:r>
          </a:p>
          <a:p>
            <a:pPr marL="346075" marR="0" lvl="1" indent="-34607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came most destructive loss of life fire in the state’s history</a:t>
            </a:r>
            <a:endParaRPr lang="en-US" sz="2300" dirty="0">
              <a:solidFill>
                <a:srgbClr val="102B6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94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90657"/>
            <a:ext cx="8385176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Camp Fire (Paradise/Chico)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84585" y="863054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9"/>
          <a:stretch/>
        </p:blipFill>
        <p:spPr>
          <a:xfrm>
            <a:off x="684585" y="1057146"/>
            <a:ext cx="3907099" cy="2993123"/>
          </a:xfrm>
          <a:ln w="12700">
            <a:solidFill>
              <a:schemeClr val="tx1"/>
            </a:solidFill>
          </a:ln>
        </p:spPr>
      </p:pic>
      <p:pic>
        <p:nvPicPr>
          <p:cNvPr id="7" name="Content Placeholder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723" y="1057146"/>
            <a:ext cx="3735134" cy="252698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7344125" y="3574172"/>
            <a:ext cx="128608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abcnews.go.com</a:t>
            </a:r>
            <a:endParaRPr lang="en-US" sz="800" dirty="0"/>
          </a:p>
        </p:txBody>
      </p:sp>
      <p:pic>
        <p:nvPicPr>
          <p:cNvPr id="9" name="Picture 2" descr="See the source image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/>
          <a:stretch/>
        </p:blipFill>
        <p:spPr bwMode="auto">
          <a:xfrm>
            <a:off x="4765963" y="3866581"/>
            <a:ext cx="3754619" cy="2240280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003712" y="6091198"/>
            <a:ext cx="16911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sanfrancisco.cbslocal.com</a:t>
            </a:r>
            <a:endParaRPr lang="en-US" sz="8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80"/>
          <a:stretch/>
        </p:blipFill>
        <p:spPr>
          <a:xfrm>
            <a:off x="1643265" y="4178558"/>
            <a:ext cx="2948419" cy="199687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06984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Evacuate in a timely mann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Protect employees from excessive smoke; keep air filters, N95 masks, and other essential supplies availab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Determine short-term and extended mutual assistance and personnel needs for tha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Critical Incident Response Management (CIRM) peer to peer support program is an extremely critical resource during and after the disaster</a:t>
            </a:r>
          </a:p>
          <a:p>
            <a:pPr marL="0" indent="0">
              <a:buNone/>
            </a:pPr>
            <a:endParaRPr lang="en-US" sz="2300" dirty="0" smtClean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615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5827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Coordination with PIO/Liaison is Key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746" y="1401945"/>
            <a:ext cx="6182013" cy="4636510"/>
          </a:xfrm>
          <a:ln w="12700">
            <a:solidFill>
              <a:schemeClr val="tx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566703" y="1111949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0990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702" y="95827"/>
            <a:ext cx="8120097" cy="761931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PIO/Liaison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26527" y="857758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626527" y="1052947"/>
            <a:ext cx="8060272" cy="27154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313" lvl="1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Communication for water quality issues, system concerns, community support</a:t>
            </a:r>
          </a:p>
          <a:p>
            <a:pPr marL="341313" lvl="1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Door-to-door, email, text, phone communication with customers</a:t>
            </a:r>
          </a:p>
          <a:p>
            <a:pPr marL="341313" lvl="1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Regular updates to city, county, community leaders and media</a:t>
            </a:r>
          </a:p>
          <a:p>
            <a:pPr marL="341313" lvl="1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Updates to legislators and PUC</a:t>
            </a:r>
          </a:p>
          <a:p>
            <a:pPr marL="341313" lvl="1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Dedicated section on web site home page</a:t>
            </a:r>
          </a:p>
          <a:p>
            <a:pPr>
              <a:lnSpc>
                <a:spcPct val="90000"/>
              </a:lnSpc>
              <a:spcBef>
                <a:spcPts val="600"/>
              </a:spcBef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Frequent updates on social media</a:t>
            </a:r>
            <a:endParaRPr lang="en-US" sz="2000" dirty="0">
              <a:solidFill>
                <a:srgbClr val="102B63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tabLst>
                <a:tab pos="1828800" algn="l"/>
              </a:tabLst>
            </a:pPr>
            <a:r>
              <a:rPr lang="en-US" sz="2000" dirty="0" smtClean="0">
                <a:solidFill>
                  <a:srgbClr val="102B63"/>
                </a:solidFill>
              </a:rPr>
              <a:t>Participation in community meetings with first responders and resident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5964" y="3963624"/>
            <a:ext cx="2523735" cy="2099607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84"/>
          <a:stretch/>
        </p:blipFill>
        <p:spPr>
          <a:xfrm>
            <a:off x="6271490" y="3963624"/>
            <a:ext cx="2581563" cy="2099607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7" t="16306" r="26567"/>
          <a:stretch/>
        </p:blipFill>
        <p:spPr>
          <a:xfrm>
            <a:off x="958623" y="3963624"/>
            <a:ext cx="2665550" cy="2104930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58074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27" y="95827"/>
            <a:ext cx="8060272" cy="761931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Social Media Engagement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26527" y="857758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Content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519" y="1525790"/>
            <a:ext cx="4478345" cy="2996896"/>
          </a:xfrm>
          <a:prstGeom prst="rect">
            <a:avLst/>
          </a:prstGeom>
        </p:spPr>
      </p:pic>
      <p:pic>
        <p:nvPicPr>
          <p:cNvPr id="10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8865" y="1240785"/>
            <a:ext cx="4089072" cy="4692107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512835" y="4522686"/>
            <a:ext cx="4016828" cy="1081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1600" dirty="0" smtClean="0">
                <a:solidFill>
                  <a:srgbClr val="102B63"/>
                </a:solidFill>
              </a:rPr>
              <a:t>Significance of highlighted comment: This customer had been very outspoken critic of Cal Water due to water rates</a:t>
            </a:r>
            <a:endParaRPr lang="en-US" sz="1600" dirty="0">
              <a:solidFill>
                <a:srgbClr val="102B63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739795" y="1179707"/>
            <a:ext cx="4301654" cy="562236"/>
            <a:chOff x="299842" y="2519181"/>
            <a:chExt cx="4198754" cy="863719"/>
          </a:xfrm>
          <a:solidFill>
            <a:srgbClr val="FFFF00">
              <a:alpha val="17000"/>
            </a:srgbClr>
          </a:solidFill>
        </p:grpSpPr>
        <p:sp>
          <p:nvSpPr>
            <p:cNvPr id="13" name="Rectangle 12"/>
            <p:cNvSpPr/>
            <p:nvPr/>
          </p:nvSpPr>
          <p:spPr>
            <a:xfrm>
              <a:off x="299842" y="2519181"/>
              <a:ext cx="4198754" cy="863719"/>
            </a:xfrm>
            <a:prstGeom prst="rect">
              <a:avLst/>
            </a:prstGeom>
            <a:grpFill/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Rectangle 13"/>
            <p:cNvSpPr/>
            <p:nvPr/>
          </p:nvSpPr>
          <p:spPr>
            <a:xfrm>
              <a:off x="299842" y="2519181"/>
              <a:ext cx="4198754" cy="86371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0" tIns="114300" rIns="114300" bIns="114300" numCol="1" spcCol="1270" anchor="ctr" anchorCtr="0">
              <a:noAutofit/>
            </a:bodyPr>
            <a:lstStyle/>
            <a:p>
              <a:pPr lvl="0" algn="ctr" defTabSz="2000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45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54306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Communication 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tabLst>
                <a:tab pos="1828800" algn="l"/>
              </a:tabLst>
            </a:pPr>
            <a:r>
              <a:rPr lang="en-US" sz="2400" dirty="0">
                <a:solidFill>
                  <a:srgbClr val="102B63"/>
                </a:solidFill>
              </a:rPr>
              <a:t>Regular, proactive, direct communication important to quell fears, enhance confidence in our ability to serv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Must build relationships to maintain ability </a:t>
            </a:r>
            <a:r>
              <a:rPr lang="en-US" sz="2300" dirty="0">
                <a:solidFill>
                  <a:srgbClr val="102B63"/>
                </a:solidFill>
              </a:rPr>
              <a:t>to coordinate with p</a:t>
            </a:r>
            <a:r>
              <a:rPr lang="en-US" sz="2300" dirty="0" smtClean="0">
                <a:solidFill>
                  <a:srgbClr val="102B63"/>
                </a:solidFill>
              </a:rPr>
              <a:t>ublic agencies (state</a:t>
            </a:r>
            <a:r>
              <a:rPr lang="en-US" sz="2300" dirty="0">
                <a:solidFill>
                  <a:srgbClr val="102B63"/>
                </a:solidFill>
              </a:rPr>
              <a:t>, </a:t>
            </a:r>
            <a:r>
              <a:rPr lang="en-US" sz="2300" dirty="0" smtClean="0">
                <a:solidFill>
                  <a:srgbClr val="102B63"/>
                </a:solidFill>
              </a:rPr>
              <a:t>county, and loca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Customers receive information via various channels, so must use comprehensive outreach approa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Steps to support community (CPODs, distribution centers) help build relationships</a:t>
            </a:r>
            <a:endParaRPr lang="en-US" sz="23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7469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95514" y="649480"/>
            <a:ext cx="3845607" cy="376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831" y="230380"/>
            <a:ext cx="8322739" cy="8382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3200" b="1" dirty="0" smtClean="0">
                <a:solidFill>
                  <a:srgbClr val="102B63"/>
                </a:solidFill>
              </a:rPr>
              <a:t>Focusing on Recovery:</a:t>
            </a:r>
          </a:p>
          <a:p>
            <a:pPr algn="l">
              <a:lnSpc>
                <a:spcPct val="90000"/>
              </a:lnSpc>
            </a:pPr>
            <a:r>
              <a:rPr lang="en-US" sz="3200" b="1" dirty="0" smtClean="0">
                <a:solidFill>
                  <a:srgbClr val="102B63"/>
                </a:solidFill>
              </a:rPr>
              <a:t>Critical Incident Response Management (CIRM)</a:t>
            </a:r>
            <a:endParaRPr lang="en-US" sz="3200" b="1" dirty="0">
              <a:solidFill>
                <a:srgbClr val="102B63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566703" y="129076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66703" y="1653568"/>
            <a:ext cx="7924153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Emotional wellness and peer support provided to employees who respond to, or are affected by, disasters or traumatic events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54 Cal Water employees currently trained to provide emotional support following an incident or response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CIRM team utilized </a:t>
            </a:r>
            <a:r>
              <a:rPr lang="en-US" sz="2400" b="1" dirty="0" smtClean="0">
                <a:solidFill>
                  <a:srgbClr val="FF0000"/>
                </a:solidFill>
              </a:rPr>
              <a:t>18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times during the past 2½ years</a:t>
            </a: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21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831" y="1397000"/>
            <a:ext cx="8229600" cy="4525963"/>
          </a:xfrm>
        </p:spPr>
        <p:txBody>
          <a:bodyPr/>
          <a:lstStyle/>
          <a:p>
            <a:r>
              <a:rPr lang="en-US" dirty="0" smtClean="0">
                <a:solidFill>
                  <a:srgbClr val="102B63"/>
                </a:solidFill>
              </a:rPr>
              <a:t>Implement Community EOC programs in small districts and rural areas</a:t>
            </a:r>
          </a:p>
          <a:p>
            <a:r>
              <a:rPr lang="en-US" dirty="0" smtClean="0">
                <a:solidFill>
                  <a:srgbClr val="102B63"/>
                </a:solidFill>
              </a:rPr>
              <a:t>Small areas must work together as resources may have extended response times</a:t>
            </a:r>
            <a:endParaRPr lang="en-US" dirty="0">
              <a:solidFill>
                <a:srgbClr val="102B63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457831" y="230380"/>
            <a:ext cx="8322739" cy="8382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3600" b="1" dirty="0" smtClean="0">
                <a:solidFill>
                  <a:srgbClr val="102B63"/>
                </a:solidFill>
              </a:rPr>
              <a:t>Community EOC’s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566703" y="106394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7759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85747"/>
            <a:ext cx="7806272" cy="838200"/>
          </a:xfrm>
        </p:spPr>
        <p:txBody>
          <a:bodyPr>
            <a:normAutofit/>
          </a:bodyPr>
          <a:lstStyle/>
          <a:p>
            <a:pPr algn="l"/>
            <a:r>
              <a:rPr lang="en-US" sz="4000" b="1" dirty="0" smtClean="0">
                <a:solidFill>
                  <a:srgbClr val="102B63"/>
                </a:solidFill>
              </a:rPr>
              <a:t>National Response Framework</a:t>
            </a:r>
            <a:endParaRPr lang="en-US" sz="4000" b="1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1155694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017845" y="4830301"/>
            <a:ext cx="700495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>
                <a:solidFill>
                  <a:srgbClr val="0070C0"/>
                </a:solidFill>
              </a:rPr>
              <a:t>Over the past 4 years, Cal Water has implemented a number of programs to do our part to adhere to our nation’s Response Framework.</a:t>
            </a:r>
            <a:endParaRPr lang="en-US" sz="2200" dirty="0">
              <a:solidFill>
                <a:srgbClr val="0070C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399" y="1563354"/>
            <a:ext cx="4163849" cy="165950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2909705"/>
            <a:ext cx="2209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1B77BB"/>
                </a:solidFill>
              </a:rPr>
              <a:t>Prevent</a:t>
            </a:r>
            <a:endParaRPr lang="en-US" sz="40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6547760" y="2334528"/>
            <a:ext cx="259624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4000" b="1" dirty="0" smtClean="0">
              <a:solidFill>
                <a:srgbClr val="1B77BB"/>
              </a:solidFill>
            </a:endParaRPr>
          </a:p>
          <a:p>
            <a:pPr algn="ctr"/>
            <a:r>
              <a:rPr lang="en-US" sz="4000" b="1" dirty="0" smtClean="0">
                <a:solidFill>
                  <a:srgbClr val="1B77BB"/>
                </a:solidFill>
              </a:rPr>
              <a:t>Recover</a:t>
            </a:r>
            <a:endParaRPr lang="en-US" sz="4000" b="1" dirty="0">
              <a:solidFill>
                <a:srgbClr val="1B77BB"/>
              </a:solidFill>
            </a:endParaRPr>
          </a:p>
          <a:p>
            <a:endParaRPr lang="en-US" sz="4000" dirty="0"/>
          </a:p>
        </p:txBody>
      </p:sp>
      <p:sp>
        <p:nvSpPr>
          <p:cNvPr id="9" name="TextBox 8"/>
          <p:cNvSpPr txBox="1"/>
          <p:nvPr/>
        </p:nvSpPr>
        <p:spPr>
          <a:xfrm>
            <a:off x="1871433" y="3624943"/>
            <a:ext cx="25702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1B77BB"/>
                </a:solidFill>
              </a:rPr>
              <a:t>Prepar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4000" dirty="0"/>
          </a:p>
        </p:txBody>
      </p:sp>
      <p:sp>
        <p:nvSpPr>
          <p:cNvPr id="10" name="TextBox 9"/>
          <p:cNvSpPr txBox="1"/>
          <p:nvPr/>
        </p:nvSpPr>
        <p:spPr>
          <a:xfrm>
            <a:off x="4754029" y="3607086"/>
            <a:ext cx="2318657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1B77BB"/>
                </a:solidFill>
              </a:rPr>
              <a:t>Respond</a:t>
            </a:r>
          </a:p>
          <a:p>
            <a:pPr algn="ctr"/>
            <a:r>
              <a:rPr lang="en-US" b="1" dirty="0" smtClean="0">
                <a:solidFill>
                  <a:srgbClr val="1B77BB"/>
                </a:solidFill>
              </a:rPr>
              <a:t>(mitigate)</a:t>
            </a:r>
            <a:endParaRPr lang="en-US" dirty="0"/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1427844" y="3617591"/>
            <a:ext cx="683985" cy="24683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179994" y="3981900"/>
            <a:ext cx="68065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7072686" y="3624943"/>
            <a:ext cx="471114" cy="35695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086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172" y="-13252"/>
            <a:ext cx="8229600" cy="1143000"/>
          </a:xfrm>
        </p:spPr>
        <p:txBody>
          <a:bodyPr/>
          <a:lstStyle/>
          <a:p>
            <a:pPr algn="l"/>
            <a:r>
              <a:rPr lang="en-US" b="1" dirty="0" smtClean="0">
                <a:solidFill>
                  <a:schemeClr val="tx2">
                    <a:lumMod val="75000"/>
                  </a:schemeClr>
                </a:solidFill>
              </a:rPr>
              <a:t>Hawaii Community EOC</a:t>
            </a:r>
            <a:endParaRPr lang="en-US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72" y="2165962"/>
            <a:ext cx="3910014" cy="2932511"/>
          </a:xfrm>
          <a:ln w="12700">
            <a:solidFill>
              <a:schemeClr val="tx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653144" y="91092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55171" y="1110925"/>
            <a:ext cx="80189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53 community members attended, including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H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awaii PUC Commissioner Lorraine Akiba</a:t>
            </a:r>
            <a:endParaRPr lang="en-US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" name="Content Placeholder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3" t="9332" r="4159"/>
          <a:stretch/>
        </p:blipFill>
        <p:spPr>
          <a:xfrm>
            <a:off x="4593007" y="3139120"/>
            <a:ext cx="3768437" cy="281453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8750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018" y="5217"/>
            <a:ext cx="8054782" cy="11430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chemeClr val="tx2">
                    <a:lumMod val="75000"/>
                  </a:schemeClr>
                </a:solidFill>
              </a:rPr>
              <a:t>Washington Community EOC</a:t>
            </a:r>
            <a:endParaRPr lang="en-U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31" r="21089"/>
          <a:stretch/>
        </p:blipFill>
        <p:spPr>
          <a:xfrm>
            <a:off x="632018" y="1246909"/>
            <a:ext cx="3820521" cy="2947358"/>
          </a:xfrm>
          <a:ln w="12700">
            <a:solidFill>
              <a:schemeClr val="tx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632018" y="966901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Content Placeholder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0473" y="2634214"/>
            <a:ext cx="3847816" cy="288586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777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112691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399605" y="865018"/>
            <a:ext cx="4720212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102B63"/>
                </a:solidFill>
              </a:rPr>
              <a:t>Address vulnerabilities </a:t>
            </a:r>
            <a:r>
              <a:rPr lang="en-US" sz="2000" dirty="0">
                <a:solidFill>
                  <a:srgbClr val="102B63"/>
                </a:solidFill>
              </a:rPr>
              <a:t>and assess </a:t>
            </a:r>
            <a:r>
              <a:rPr lang="en-US" sz="2000" dirty="0" smtClean="0">
                <a:solidFill>
                  <a:srgbClr val="102B63"/>
                </a:solidFill>
              </a:rPr>
              <a:t/>
            </a:r>
            <a:br>
              <a:rPr lang="en-US" sz="2000" dirty="0" smtClean="0">
                <a:solidFill>
                  <a:srgbClr val="102B63"/>
                </a:solidFill>
              </a:rPr>
            </a:br>
            <a:r>
              <a:rPr lang="en-US" sz="2000" dirty="0" smtClean="0">
                <a:solidFill>
                  <a:srgbClr val="102B63"/>
                </a:solidFill>
              </a:rPr>
              <a:t>potentially under-resourced </a:t>
            </a:r>
            <a:r>
              <a:rPr lang="en-US" sz="2000" dirty="0">
                <a:solidFill>
                  <a:srgbClr val="102B63"/>
                </a:solidFill>
              </a:rPr>
              <a:t>areas </a:t>
            </a:r>
            <a:endParaRPr lang="en-US" sz="2000" dirty="0" smtClean="0">
              <a:solidFill>
                <a:srgbClr val="102B6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02B63"/>
                </a:solidFill>
              </a:rPr>
              <a:t>Ensure equipment and assets, </a:t>
            </a:r>
            <a:r>
              <a:rPr lang="en-US" sz="2000" dirty="0" smtClean="0">
                <a:solidFill>
                  <a:srgbClr val="102B63"/>
                </a:solidFill>
              </a:rPr>
              <a:t/>
            </a:r>
            <a:br>
              <a:rPr lang="en-US" sz="2000" dirty="0" smtClean="0">
                <a:solidFill>
                  <a:srgbClr val="102B63"/>
                </a:solidFill>
              </a:rPr>
            </a:br>
            <a:r>
              <a:rPr lang="en-US" sz="2000" dirty="0" smtClean="0">
                <a:solidFill>
                  <a:srgbClr val="102B63"/>
                </a:solidFill>
              </a:rPr>
              <a:t>including </a:t>
            </a:r>
            <a:r>
              <a:rPr lang="en-US" sz="2000" dirty="0">
                <a:solidFill>
                  <a:srgbClr val="102B63"/>
                </a:solidFill>
              </a:rPr>
              <a:t>transfer switches, are in </a:t>
            </a:r>
            <a:r>
              <a:rPr lang="en-US" sz="2000" dirty="0" smtClean="0">
                <a:solidFill>
                  <a:srgbClr val="102B63"/>
                </a:solidFill>
              </a:rPr>
              <a:t/>
            </a:r>
            <a:br>
              <a:rPr lang="en-US" sz="2000" dirty="0" smtClean="0">
                <a:solidFill>
                  <a:srgbClr val="102B63"/>
                </a:solidFill>
              </a:rPr>
            </a:br>
            <a:r>
              <a:rPr lang="en-US" sz="2000" dirty="0" smtClean="0">
                <a:solidFill>
                  <a:srgbClr val="102B63"/>
                </a:solidFill>
              </a:rPr>
              <a:t>proper </a:t>
            </a:r>
            <a:r>
              <a:rPr lang="en-US" sz="2000" dirty="0">
                <a:solidFill>
                  <a:srgbClr val="102B63"/>
                </a:solidFill>
              </a:rPr>
              <a:t>working order or </a:t>
            </a:r>
            <a:r>
              <a:rPr lang="en-US" sz="2000" dirty="0" smtClean="0">
                <a:solidFill>
                  <a:srgbClr val="102B63"/>
                </a:solidFill>
              </a:rPr>
              <a:t>repaired/</a:t>
            </a:r>
            <a:br>
              <a:rPr lang="en-US" sz="2000" dirty="0" smtClean="0">
                <a:solidFill>
                  <a:srgbClr val="102B63"/>
                </a:solidFill>
              </a:rPr>
            </a:br>
            <a:r>
              <a:rPr lang="en-US" sz="2000" dirty="0" smtClean="0">
                <a:solidFill>
                  <a:srgbClr val="102B63"/>
                </a:solidFill>
              </a:rPr>
              <a:t>replaced</a:t>
            </a:r>
            <a:endParaRPr lang="en-US" sz="20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812554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909715" y="3321569"/>
            <a:ext cx="3953245" cy="2966109"/>
            <a:chOff x="909715" y="3321569"/>
            <a:chExt cx="3953245" cy="2966109"/>
          </a:xfrm>
        </p:grpSpPr>
        <p:sp>
          <p:nvSpPr>
            <p:cNvPr id="2" name="Rectangle 1"/>
            <p:cNvSpPr/>
            <p:nvPr/>
          </p:nvSpPr>
          <p:spPr>
            <a:xfrm>
              <a:off x="909715" y="3321569"/>
              <a:ext cx="3953245" cy="296610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2548" y="3374485"/>
              <a:ext cx="3788415" cy="2860277"/>
            </a:xfrm>
            <a:prstGeom prst="rect">
              <a:avLst/>
            </a:prstGeom>
          </p:spPr>
        </p:pic>
      </p:grpSp>
      <p:sp>
        <p:nvSpPr>
          <p:cNvPr id="3" name="TextBox 2"/>
          <p:cNvSpPr txBox="1"/>
          <p:nvPr/>
        </p:nvSpPr>
        <p:spPr>
          <a:xfrm>
            <a:off x="4770963" y="836856"/>
            <a:ext cx="444841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02B63"/>
                </a:solidFill>
              </a:rPr>
              <a:t>Maintain ability to coordinate </a:t>
            </a:r>
            <a:br>
              <a:rPr lang="en-US" sz="2000" dirty="0">
                <a:solidFill>
                  <a:srgbClr val="102B63"/>
                </a:solidFill>
              </a:rPr>
            </a:br>
            <a:r>
              <a:rPr lang="en-US" sz="2000" dirty="0">
                <a:solidFill>
                  <a:srgbClr val="102B63"/>
                </a:solidFill>
              </a:rPr>
              <a:t>with public agencies (state, county &amp; loca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02B63"/>
                </a:solidFill>
              </a:rPr>
              <a:t>Address statewide concerns – we </a:t>
            </a:r>
            <a:br>
              <a:rPr lang="en-US" sz="2000" dirty="0">
                <a:solidFill>
                  <a:srgbClr val="102B63"/>
                </a:solidFill>
              </a:rPr>
            </a:br>
            <a:r>
              <a:rPr lang="en-US" sz="2000" b="1" dirty="0">
                <a:solidFill>
                  <a:srgbClr val="102B63"/>
                </a:solidFill>
              </a:rPr>
              <a:t>must</a:t>
            </a:r>
            <a:r>
              <a:rPr lang="en-US" sz="2000" dirty="0">
                <a:solidFill>
                  <a:srgbClr val="102B63"/>
                </a:solidFill>
              </a:rPr>
              <a:t> partner on vegetation </a:t>
            </a:r>
            <a:br>
              <a:rPr lang="en-US" sz="2000" dirty="0">
                <a:solidFill>
                  <a:srgbClr val="102B63"/>
                </a:solidFill>
              </a:rPr>
            </a:br>
            <a:r>
              <a:rPr lang="en-US" sz="2000" dirty="0">
                <a:solidFill>
                  <a:srgbClr val="102B63"/>
                </a:solidFill>
              </a:rPr>
              <a:t>management strategies (raking the forests</a:t>
            </a:r>
            <a:endParaRPr lang="en-US" sz="20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5015061" y="3312143"/>
            <a:ext cx="3863450" cy="2966109"/>
            <a:chOff x="5015061" y="3312143"/>
            <a:chExt cx="3863450" cy="2966109"/>
          </a:xfrm>
        </p:grpSpPr>
        <p:sp>
          <p:nvSpPr>
            <p:cNvPr id="12" name="Rectangle 11"/>
            <p:cNvSpPr/>
            <p:nvPr/>
          </p:nvSpPr>
          <p:spPr>
            <a:xfrm>
              <a:off x="5015061" y="3312143"/>
              <a:ext cx="3863450" cy="296610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82109" y="3365057"/>
              <a:ext cx="3725613" cy="28602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8471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7" y="212433"/>
            <a:ext cx="8288872" cy="680133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Lessons Learned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626526" y="1330036"/>
            <a:ext cx="8092555" cy="4700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2300" dirty="0">
                <a:solidFill>
                  <a:srgbClr val="102B63"/>
                </a:solidFill>
              </a:rPr>
              <a:t>Over-prepare with personnel, generators, etc. </a:t>
            </a:r>
            <a:endParaRPr lang="en-US" sz="2300" dirty="0" smtClean="0">
              <a:solidFill>
                <a:srgbClr val="102B6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Assure </a:t>
            </a:r>
            <a:r>
              <a:rPr lang="en-US" sz="2300" dirty="0">
                <a:solidFill>
                  <a:srgbClr val="102B63"/>
                </a:solidFill>
              </a:rPr>
              <a:t>continuous water quality support during critical incidents </a:t>
            </a:r>
            <a:endParaRPr lang="en-US" sz="2300" dirty="0" smtClean="0">
              <a:solidFill>
                <a:srgbClr val="102B63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rgbClr val="102B63"/>
                </a:solidFill>
              </a:rPr>
              <a:t>Must </a:t>
            </a:r>
            <a:r>
              <a:rPr lang="en-US" sz="2300" i="1" dirty="0" smtClean="0">
                <a:solidFill>
                  <a:srgbClr val="102B63"/>
                </a:solidFill>
              </a:rPr>
              <a:t>keep</a:t>
            </a:r>
            <a:r>
              <a:rPr lang="en-US" sz="2300" dirty="0" smtClean="0">
                <a:solidFill>
                  <a:srgbClr val="102B63"/>
                </a:solidFill>
              </a:rPr>
              <a:t> </a:t>
            </a:r>
            <a:r>
              <a:rPr lang="en-US" sz="2300" i="1" dirty="0" smtClean="0">
                <a:solidFill>
                  <a:srgbClr val="102B63"/>
                </a:solidFill>
              </a:rPr>
              <a:t>water flowing</a:t>
            </a:r>
            <a:r>
              <a:rPr lang="en-US" sz="2300" dirty="0" smtClean="0">
                <a:solidFill>
                  <a:srgbClr val="102B63"/>
                </a:solidFill>
              </a:rPr>
              <a:t> </a:t>
            </a:r>
            <a:r>
              <a:rPr lang="en-US" sz="2300" dirty="0">
                <a:solidFill>
                  <a:srgbClr val="102B63"/>
                </a:solidFill>
              </a:rPr>
              <a:t>for </a:t>
            </a:r>
            <a:r>
              <a:rPr lang="en-US" sz="2300" dirty="0" smtClean="0">
                <a:solidFill>
                  <a:srgbClr val="102B63"/>
                </a:solidFill>
              </a:rPr>
              <a:t>firefighter use and customers health</a:t>
            </a:r>
          </a:p>
          <a:p>
            <a:pPr marL="0" indent="0">
              <a:buNone/>
            </a:pPr>
            <a:r>
              <a:rPr lang="en-US" sz="2300" dirty="0">
                <a:solidFill>
                  <a:srgbClr val="102B63"/>
                </a:solidFill>
              </a:rPr>
              <a:t>		</a:t>
            </a:r>
            <a:r>
              <a:rPr lang="en-US" sz="2300" dirty="0" smtClean="0">
                <a:solidFill>
                  <a:srgbClr val="102B63"/>
                </a:solidFill>
              </a:rPr>
              <a:t>	…</a:t>
            </a:r>
            <a:r>
              <a:rPr lang="en-US" sz="2300" i="1" dirty="0" smtClean="0">
                <a:solidFill>
                  <a:srgbClr val="102B63"/>
                </a:solidFill>
              </a:rPr>
              <a:t>fuel</a:t>
            </a:r>
            <a:r>
              <a:rPr lang="en-US" sz="2300" dirty="0" smtClean="0">
                <a:solidFill>
                  <a:srgbClr val="102B63"/>
                </a:solidFill>
              </a:rPr>
              <a:t> </a:t>
            </a:r>
            <a:r>
              <a:rPr lang="en-US" sz="2300" dirty="0">
                <a:solidFill>
                  <a:srgbClr val="102B63"/>
                </a:solidFill>
              </a:rPr>
              <a:t>for </a:t>
            </a:r>
            <a:r>
              <a:rPr lang="en-US" sz="2300" dirty="0" smtClean="0">
                <a:solidFill>
                  <a:srgbClr val="102B63"/>
                </a:solidFill>
              </a:rPr>
              <a:t>generators and vehicles…</a:t>
            </a:r>
            <a:endParaRPr lang="en-US" sz="2300" dirty="0">
              <a:solidFill>
                <a:srgbClr val="102B63"/>
              </a:solidFill>
            </a:endParaRPr>
          </a:p>
          <a:p>
            <a:pPr marL="0" indent="0">
              <a:buNone/>
            </a:pPr>
            <a:r>
              <a:rPr lang="en-US" sz="2300" dirty="0">
                <a:solidFill>
                  <a:srgbClr val="102B63"/>
                </a:solidFill>
              </a:rPr>
              <a:t>	</a:t>
            </a:r>
            <a:r>
              <a:rPr lang="en-US" sz="2300" dirty="0" smtClean="0">
                <a:solidFill>
                  <a:srgbClr val="102B63"/>
                </a:solidFill>
              </a:rPr>
              <a:t>		…</a:t>
            </a:r>
            <a:r>
              <a:rPr lang="en-US" sz="2300" i="1" dirty="0" smtClean="0">
                <a:solidFill>
                  <a:srgbClr val="102B63"/>
                </a:solidFill>
              </a:rPr>
              <a:t>filters</a:t>
            </a:r>
            <a:r>
              <a:rPr lang="en-US" sz="2300" dirty="0" smtClean="0">
                <a:solidFill>
                  <a:srgbClr val="102B63"/>
                </a:solidFill>
              </a:rPr>
              <a:t> </a:t>
            </a:r>
            <a:r>
              <a:rPr lang="en-US" sz="2300" dirty="0">
                <a:solidFill>
                  <a:srgbClr val="102B63"/>
                </a:solidFill>
              </a:rPr>
              <a:t>for </a:t>
            </a:r>
            <a:r>
              <a:rPr lang="en-US" sz="2300" dirty="0" smtClean="0">
                <a:solidFill>
                  <a:srgbClr val="102B63"/>
                </a:solidFill>
              </a:rPr>
              <a:t>office and employee safety.</a:t>
            </a:r>
            <a:endParaRPr lang="en-US" sz="2300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98493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829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815" y="4662536"/>
            <a:ext cx="2002175" cy="167324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22108" y="132659"/>
            <a:ext cx="7784584" cy="1164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2400" b="1" i="1" dirty="0" smtClean="0">
                <a:solidFill>
                  <a:schemeClr val="tx2">
                    <a:lumMod val="75000"/>
                  </a:schemeClr>
                </a:solidFill>
              </a:rPr>
              <a:t>It works well when </a:t>
            </a:r>
          </a:p>
          <a:p>
            <a:pPr>
              <a:lnSpc>
                <a:spcPct val="85000"/>
              </a:lnSpc>
            </a:pPr>
            <a:r>
              <a:rPr lang="en-US" sz="3000" b="1" dirty="0" smtClean="0">
                <a:solidFill>
                  <a:schemeClr val="tx2">
                    <a:lumMod val="75000"/>
                  </a:schemeClr>
                </a:solidFill>
              </a:rPr>
              <a:t>Prevention, Preparation, Response &amp; Recovery </a:t>
            </a:r>
          </a:p>
          <a:p>
            <a:pPr>
              <a:lnSpc>
                <a:spcPct val="85000"/>
              </a:lnSpc>
            </a:pPr>
            <a:r>
              <a:rPr lang="en-US" sz="2800" b="1" i="1" dirty="0" smtClean="0">
                <a:solidFill>
                  <a:schemeClr val="tx2">
                    <a:lumMod val="75000"/>
                  </a:schemeClr>
                </a:solidFill>
              </a:rPr>
              <a:t>are ALL utilized…</a:t>
            </a:r>
            <a:endParaRPr lang="en-US" sz="28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8665"/>
          <a:stretch/>
        </p:blipFill>
        <p:spPr>
          <a:xfrm>
            <a:off x="1168895" y="1429692"/>
            <a:ext cx="6722796" cy="323284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cxnSp>
        <p:nvCxnSpPr>
          <p:cNvPr id="8" name="Straight Connector 7"/>
          <p:cNvCxnSpPr/>
          <p:nvPr/>
        </p:nvCxnSpPr>
        <p:spPr>
          <a:xfrm>
            <a:off x="722108" y="1297593"/>
            <a:ext cx="7903028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817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CWS_Logo-RGBcolor.png" descr="/Users/sashawelland/Desktop/THINK Marketing/Cal Water/CWS Logos 2014/Word and PPT/CWS_Logo-RGBcolor.png"/>
          <p:cNvPicPr>
            <a:picLocks noChangeAspect="1"/>
          </p:cNvPicPr>
          <p:nvPr/>
        </p:nvPicPr>
        <p:blipFill>
          <a:blip r:embed="rId4" r:link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191" y="4286297"/>
            <a:ext cx="1532162" cy="153641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6320940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163C88"/>
                </a:solidFill>
                <a:cs typeface="Calibri"/>
              </a:rPr>
              <a:t>Q</a:t>
            </a:r>
            <a:r>
              <a:rPr lang="en-US" sz="1600" b="1" dirty="0" smtClean="0">
                <a:solidFill>
                  <a:srgbClr val="163C88"/>
                </a:solidFill>
                <a:cs typeface="Calibri"/>
              </a:rPr>
              <a:t>uality. Service. Value.</a:t>
            </a:r>
            <a:endParaRPr lang="en-US" sz="1600" b="1" dirty="0">
              <a:solidFill>
                <a:srgbClr val="163C88"/>
              </a:solidFill>
              <a:cs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70881" y="1576940"/>
            <a:ext cx="76256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DD848"/>
                </a:solidFill>
              </a:rPr>
              <a:t>Q&amp;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69218" y="4731340"/>
            <a:ext cx="23470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FDD848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421072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54881" y="351163"/>
            <a:ext cx="838757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600" b="1" dirty="0" smtClean="0">
                <a:solidFill>
                  <a:srgbClr val="102B63"/>
                </a:solidFill>
              </a:rPr>
              <a:t>Cal Water’s Emergency Response Approach</a:t>
            </a:r>
            <a:endParaRPr lang="en-US" sz="3600" b="1" dirty="0">
              <a:solidFill>
                <a:srgbClr val="102B63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2301" y="1379313"/>
            <a:ext cx="832015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Conduct emergency response/Emergency Operations Center (EOC)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t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raining for all managers, supervisors, and corporate offic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Train 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“Boots on the Ground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>
                    <a:lumMod val="75000"/>
                  </a:schemeClr>
                </a:solidFill>
              </a:rPr>
              <a:t>Utilize our Emergency Action Guidebook, a response template for field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&amp; office employees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0233" y="3010529"/>
            <a:ext cx="4470332" cy="291755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cxnSp>
        <p:nvCxnSpPr>
          <p:cNvPr id="8" name="Straight Connector 7"/>
          <p:cNvCxnSpPr/>
          <p:nvPr/>
        </p:nvCxnSpPr>
        <p:spPr>
          <a:xfrm>
            <a:off x="422301" y="1081302"/>
            <a:ext cx="8320158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6971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27"/>
          <a:stretch/>
        </p:blipFill>
        <p:spPr>
          <a:xfrm>
            <a:off x="0" y="0"/>
            <a:ext cx="9134475" cy="653415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7017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6" y="146140"/>
            <a:ext cx="7806273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Emergency Operations Center Training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47847" y="984340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12572" y="1142443"/>
            <a:ext cx="4939393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nnual emergency response training so each officer, supervisor, and manager aware of his/her position and role during EOC activation</a:t>
            </a:r>
          </a:p>
          <a:p>
            <a:pPr marL="742950" lvl="1" indent="-28575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600" dirty="0" smtClean="0">
                <a:solidFill>
                  <a:srgbClr val="102B63"/>
                </a:solidFill>
              </a:rPr>
              <a:t>All districts/subsidiaries, (16) 6-hour courses</a:t>
            </a:r>
            <a:endParaRPr lang="en-US" sz="1600" dirty="0">
              <a:solidFill>
                <a:srgbClr val="102B63"/>
              </a:solidFill>
            </a:endParaRPr>
          </a:p>
          <a:p>
            <a:pPr marL="742950" lvl="1" indent="-285750">
              <a:spcBef>
                <a:spcPts val="600"/>
              </a:spcBef>
              <a:buSzPct val="80000"/>
              <a:buFont typeface="Courier New" panose="02070309020205020404" pitchFamily="49" charset="0"/>
              <a:buChar char="o"/>
            </a:pPr>
            <a:r>
              <a:rPr lang="en-US" sz="1600" dirty="0" smtClean="0">
                <a:solidFill>
                  <a:srgbClr val="102B63"/>
                </a:solidFill>
              </a:rPr>
              <a:t>Boots on the Ground training (12) 3-hour cours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Adherence to and compliance with National Incident Management System (NIMS), Standardized Emergency Management Systems (SEMS- state), and Incident Command System (recognized all-hazard response mitigation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Establishment of EOC equipment in every district and subsidiary – “EOC in a Box”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Utilizes emergency “size-up” and field operations checklists to assure a coordinated respons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965" y="1202564"/>
            <a:ext cx="2923756" cy="2264850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965" y="3635746"/>
            <a:ext cx="2923756" cy="2192817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tx1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5159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" t="2798" r="4167" b="3591"/>
          <a:stretch/>
        </p:blipFill>
        <p:spPr>
          <a:xfrm>
            <a:off x="-1" y="0"/>
            <a:ext cx="9167741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923065" y="4408714"/>
            <a:ext cx="277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</a:rPr>
              <a:t>1</a:t>
            </a:r>
            <a:endParaRPr lang="en-US" sz="2400" b="1" dirty="0">
              <a:solidFill>
                <a:srgbClr val="FFFF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965371" y="3768487"/>
            <a:ext cx="277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</a:rPr>
              <a:t>2</a:t>
            </a:r>
            <a:endParaRPr lang="en-US" sz="2400" b="1" dirty="0">
              <a:solidFill>
                <a:srgbClr val="FFFF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28657" y="2967335"/>
            <a:ext cx="277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</a:rPr>
              <a:t>3</a:t>
            </a:r>
            <a:endParaRPr lang="en-US" sz="2400" b="1" dirty="0">
              <a:solidFill>
                <a:srgbClr val="FFFF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06243" y="2694884"/>
            <a:ext cx="277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</a:rPr>
              <a:t>4</a:t>
            </a:r>
            <a:endParaRPr lang="en-US" sz="2400" b="1" dirty="0">
              <a:solidFill>
                <a:srgbClr val="FFFF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44935" y="1594595"/>
            <a:ext cx="277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</a:rPr>
              <a:t>5</a:t>
            </a:r>
            <a:endParaRPr lang="en-US" sz="24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15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626526" y="46813"/>
            <a:ext cx="3467211" cy="8382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102B63"/>
                </a:solidFill>
              </a:rPr>
              <a:t>EOC Activations</a:t>
            </a:r>
            <a:endParaRPr lang="en-US" sz="3600" b="1" dirty="0">
              <a:solidFill>
                <a:srgbClr val="102B63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26527" y="885013"/>
            <a:ext cx="7806272" cy="0"/>
          </a:xfrm>
          <a:prstGeom prst="line">
            <a:avLst/>
          </a:prstGeom>
          <a:ln w="28575" cmpd="sng">
            <a:solidFill>
              <a:srgbClr val="102B6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27578" y="1092967"/>
            <a:ext cx="800737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Since we launched our emergency response refresh four years ago, we have set up EOCs on 29 different occasions. Most notably, we have had 6 extended EOC activations, which have solidified our use and utilization of emergency response principles.  </a:t>
            </a:r>
          </a:p>
          <a:p>
            <a:endParaRPr lang="en-US" sz="2000" u="sng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en-US" sz="2000" u="sng" dirty="0" smtClean="0">
                <a:solidFill>
                  <a:schemeClr val="tx2">
                    <a:lumMod val="75000"/>
                  </a:schemeClr>
                </a:solidFill>
              </a:rPr>
              <a:t>Major EOC activations includ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December 2014 statewide storms – EOC set up to support 21 California districts (2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2016 Erskine Fire – 108 employees from 20 Cal Water districts (17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2017 Oroville Spillway incident - EOC in Chico (5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2018 Mendocino Complex Fire – EOC in Marysville for Lucerne (10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2018 Woolsey Fire – EOC in Westlake (4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</a:rPr>
              <a:t>2018 Camp (Paradise) Fire – EOC in Chico (10 days)</a:t>
            </a:r>
            <a:endParaRPr lang="en-US" sz="22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15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32733144FC1C4C83600C0FF0D51654" ma:contentTypeVersion="0" ma:contentTypeDescription="Create a new document." ma:contentTypeScope="" ma:versionID="d9325a33fc6f75268da6e6b66ecf508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5D8BD04-3169-4511-96F2-330C91C7290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994280-2A6B-48E7-9A89-51923A472B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38D360C-D675-4E1C-AC43-C75ABFCE30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80</TotalTime>
  <Words>1712</Words>
  <Application>Microsoft Office PowerPoint</Application>
  <PresentationFormat>On-screen Show (4:3)</PresentationFormat>
  <Paragraphs>267</Paragraphs>
  <Slides>45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5</vt:i4>
      </vt:variant>
    </vt:vector>
  </HeadingPairs>
  <TitlesOfParts>
    <vt:vector size="53" baseType="lpstr">
      <vt:lpstr>Arial</vt:lpstr>
      <vt:lpstr>Calibri</vt:lpstr>
      <vt:lpstr>Calibri Light</vt:lpstr>
      <vt:lpstr>Courier New</vt:lpstr>
      <vt:lpstr>Raleway</vt:lpstr>
      <vt:lpstr>Times New Roman</vt:lpstr>
      <vt:lpstr>Office Theme</vt:lpstr>
      <vt:lpstr>3_Office Theme</vt:lpstr>
      <vt:lpstr>PowerPoint Presentation</vt:lpstr>
      <vt:lpstr>PowerPoint Presentation</vt:lpstr>
      <vt:lpstr>PowerPoint Presentation</vt:lpstr>
      <vt:lpstr>National Response Framework</vt:lpstr>
      <vt:lpstr>PowerPoint Presentation</vt:lpstr>
      <vt:lpstr>PowerPoint Presentation</vt:lpstr>
      <vt:lpstr>Emergency Operations Center Training</vt:lpstr>
      <vt:lpstr>PowerPoint Presentation</vt:lpstr>
      <vt:lpstr>EOC Activations</vt:lpstr>
      <vt:lpstr>PowerPoint Presentation</vt:lpstr>
      <vt:lpstr>PowerPoint Presentation</vt:lpstr>
      <vt:lpstr>PowerPoint Presentation</vt:lpstr>
      <vt:lpstr>Erskine Fire (Kern River Valley) </vt:lpstr>
      <vt:lpstr>PowerPoint Presentation</vt:lpstr>
      <vt:lpstr>Erskine Fire: The Aftermath &amp; Recovery</vt:lpstr>
      <vt:lpstr>Lessons Learned</vt:lpstr>
      <vt:lpstr>Oroville Spillway Incident</vt:lpstr>
      <vt:lpstr>Oroville Spillway Incident</vt:lpstr>
      <vt:lpstr>As a gesture of partnership and contribution to the community, Cal Water returned to Chico, Oroville, and Marysville to provide emergency response and EOC training for all three cities. </vt:lpstr>
      <vt:lpstr>PowerPoint Presentation</vt:lpstr>
      <vt:lpstr>Lessons Learned</vt:lpstr>
      <vt:lpstr>PowerPoint Presentation</vt:lpstr>
      <vt:lpstr>PowerPoint Presentation</vt:lpstr>
      <vt:lpstr>Mendocino Complex Fire: Marysville EOC</vt:lpstr>
      <vt:lpstr>Mendocino Complex Fire: Planning, Situation Status, Accountability</vt:lpstr>
      <vt:lpstr>Mendocino Complex Fire: Recovery CPODs</vt:lpstr>
      <vt:lpstr>Lessons Learned</vt:lpstr>
      <vt:lpstr>Woolsey Fire (Westlake District)</vt:lpstr>
      <vt:lpstr>Woolsey Fire (Westlake District)</vt:lpstr>
      <vt:lpstr>Lessons Learned</vt:lpstr>
      <vt:lpstr>Camp Fire (Paradise/Chico)</vt:lpstr>
      <vt:lpstr>Camp Fire (Paradise/Chico)</vt:lpstr>
      <vt:lpstr>Lessons Learned</vt:lpstr>
      <vt:lpstr>Coordination with PIO/Liaison is Key</vt:lpstr>
      <vt:lpstr>PIO/Liaison</vt:lpstr>
      <vt:lpstr>Social Media Engagement</vt:lpstr>
      <vt:lpstr>Communication Lessons Learned</vt:lpstr>
      <vt:lpstr>PowerPoint Presentation</vt:lpstr>
      <vt:lpstr>PowerPoint Presentation</vt:lpstr>
      <vt:lpstr>Hawaii Community EOC</vt:lpstr>
      <vt:lpstr>Washington Community EOC</vt:lpstr>
      <vt:lpstr>Lessons Learned</vt:lpstr>
      <vt:lpstr>Lessons Learned</vt:lpstr>
      <vt:lpstr>PowerPoint Presentation</vt:lpstr>
      <vt:lpstr>PowerPoint Presentation</vt:lpstr>
    </vt:vector>
  </TitlesOfParts>
  <Company>Simon + Associates Advertis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sha Welland</dc:creator>
  <cp:lastModifiedBy>Regino, Jenny@CalOES</cp:lastModifiedBy>
  <cp:revision>143</cp:revision>
  <cp:lastPrinted>2019-02-28T17:56:29Z</cp:lastPrinted>
  <dcterms:created xsi:type="dcterms:W3CDTF">2014-09-23T16:04:55Z</dcterms:created>
  <dcterms:modified xsi:type="dcterms:W3CDTF">2019-06-05T17:5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32733144FC1C4C83600C0FF0D51654</vt:lpwstr>
  </property>
</Properties>
</file>